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8"/>
  </p:notesMasterIdLst>
  <p:sldIdLst>
    <p:sldId id="311" r:id="rId2"/>
    <p:sldId id="415" r:id="rId3"/>
    <p:sldId id="380" r:id="rId4"/>
    <p:sldId id="405" r:id="rId5"/>
    <p:sldId id="406" r:id="rId6"/>
    <p:sldId id="416" r:id="rId7"/>
  </p:sldIdLst>
  <p:sldSz cx="12192000" cy="6858000"/>
  <p:notesSz cx="6858000" cy="9144000"/>
  <p:custDataLst>
    <p:tags r:id="rId9"/>
  </p:custDataLst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00BF"/>
    <a:srgbClr val="CED0D3"/>
    <a:srgbClr val="697078"/>
    <a:srgbClr val="4E57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627"/>
    <p:restoredTop sz="94322"/>
  </p:normalViewPr>
  <p:slideViewPr>
    <p:cSldViewPr snapToGrid="0">
      <p:cViewPr varScale="1">
        <p:scale>
          <a:sx n="103" d="100"/>
          <a:sy n="103" d="100"/>
        </p:scale>
        <p:origin x="712" y="17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6767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6A3372-C556-4678-ADCC-3266A1490628}" type="datetimeFigureOut">
              <a:rPr lang="nb-NO" smtClean="0"/>
              <a:t>04.09.2024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9E8C22-00AC-4214-B956-F6F3EF5B7FE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408109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104967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2881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529992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735581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105949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1.png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6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10.png"/><Relationship Id="rId4" Type="http://schemas.openxmlformats.org/officeDocument/2006/relationships/image" Target="../media/image3.png"/><Relationship Id="rId9" Type="http://schemas.openxmlformats.org/officeDocument/2006/relationships/image" Target="../media/image9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2.jpeg"/><Relationship Id="rId7" Type="http://schemas.openxmlformats.org/officeDocument/2006/relationships/image" Target="../media/image6.emf"/><Relationship Id="rId12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10.png"/><Relationship Id="rId5" Type="http://schemas.openxmlformats.org/officeDocument/2006/relationships/image" Target="../media/image3.png"/><Relationship Id="rId10" Type="http://schemas.openxmlformats.org/officeDocument/2006/relationships/image" Target="../media/image9.png"/><Relationship Id="rId4" Type="http://schemas.openxmlformats.org/officeDocument/2006/relationships/image" Target="../media/image1.png"/><Relationship Id="rId9" Type="http://schemas.openxmlformats.org/officeDocument/2006/relationships/image" Target="../media/image8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6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e 13">
            <a:extLst>
              <a:ext uri="{FF2B5EF4-FFF2-40B4-BE49-F238E27FC236}">
                <a16:creationId xmlns:a16="http://schemas.microsoft.com/office/drawing/2014/main" id="{A04FFC8B-8507-4971-90CF-18E06BA18CB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33400" y="274457"/>
            <a:ext cx="1476759" cy="387097"/>
          </a:xfrm>
          <a:prstGeom prst="rect">
            <a:avLst/>
          </a:prstGeom>
        </p:spPr>
      </p:pic>
      <p:pic>
        <p:nvPicPr>
          <p:cNvPr id="12" name="Bilde 11">
            <a:extLst>
              <a:ext uri="{FF2B5EF4-FFF2-40B4-BE49-F238E27FC236}">
                <a16:creationId xmlns:a16="http://schemas.microsoft.com/office/drawing/2014/main" id="{A2B6300E-F1D0-4E99-927E-4D8E729BA09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12192000" cy="371857"/>
          </a:xfrm>
          <a:prstGeom prst="rect">
            <a:avLst/>
          </a:prstGeom>
        </p:spPr>
      </p:pic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0505449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7" progId="TCLayout.ActiveDocument.1">
                  <p:embed/>
                </p:oleObj>
              </mc:Choice>
              <mc:Fallback>
                <p:oleObj name="think-cell Slide" r:id="rId5" imgW="352" imgH="357" progId="TCLayout.ActiveDocument.1">
                  <p:embed/>
                  <p:pic>
                    <p:nvPicPr>
                      <p:cNvPr id="10" name="Objek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/>
          <p:cNvSpPr/>
          <p:nvPr userDrawn="1"/>
        </p:nvSpPr>
        <p:spPr>
          <a:xfrm>
            <a:off x="504" y="3607651"/>
            <a:ext cx="12190491" cy="26352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720091" y="4293099"/>
            <a:ext cx="10363200" cy="692497"/>
          </a:xfrm>
        </p:spPr>
        <p:txBody>
          <a:bodyPr anchor="t" anchorCtr="0"/>
          <a:lstStyle>
            <a:lvl1pPr algn="l">
              <a:defRPr sz="450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720091" y="4100735"/>
            <a:ext cx="10363200" cy="192360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25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" y="6150922"/>
            <a:ext cx="12190993" cy="707078"/>
          </a:xfrm>
          <a:prstGeom prst="rect">
            <a:avLst/>
          </a:prstGeom>
        </p:spPr>
      </p:pic>
      <p:sp>
        <p:nvSpPr>
          <p:cNvPr id="17" name="Plassholder for bunntekst 16"/>
          <p:cNvSpPr>
            <a:spLocks noGrp="1"/>
          </p:cNvSpPr>
          <p:nvPr>
            <p:ph type="ftr" sz="quarter" idx="12"/>
          </p:nvPr>
        </p:nvSpPr>
        <p:spPr>
          <a:xfrm>
            <a:off x="720091" y="6518975"/>
            <a:ext cx="5664708" cy="192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50" cap="all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ARRANGEMENT DATO STED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3A271FE-A3BC-41C8-BA7B-87AC3FF0748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608168" y="6480765"/>
            <a:ext cx="741450" cy="24928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F6D0544-5789-44C1-9A9A-B3619B3BBEA6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9842775" y="6491418"/>
            <a:ext cx="516459" cy="24928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C4C11FFF-9033-4CE4-958A-31D14286BD4D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10669756" y="6555016"/>
            <a:ext cx="954937" cy="10610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AFE6B5D8-5BF7-4B00-B603-54140A6AEAFD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8664135" y="6485994"/>
            <a:ext cx="879837" cy="252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87225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e 13">
            <a:extLst>
              <a:ext uri="{FF2B5EF4-FFF2-40B4-BE49-F238E27FC236}">
                <a16:creationId xmlns:a16="http://schemas.microsoft.com/office/drawing/2014/main" id="{2761660A-A099-4D6D-8E9F-06672215615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3400" y="274457"/>
            <a:ext cx="1476759" cy="387097"/>
          </a:xfrm>
          <a:prstGeom prst="rect">
            <a:avLst/>
          </a:prstGeom>
        </p:spPr>
      </p:pic>
      <p:sp>
        <p:nvSpPr>
          <p:cNvPr id="10" name="Plassholder for lysbildenummer 5">
            <a:extLst>
              <a:ext uri="{FF2B5EF4-FFF2-40B4-BE49-F238E27FC236}">
                <a16:creationId xmlns:a16="http://schemas.microsoft.com/office/drawing/2014/main" id="{67D0CA04-7BA6-49F7-9AA7-F3A8B800B4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4796" y="6359378"/>
            <a:ext cx="2807297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>
                <a:solidFill>
                  <a:srgbClr val="697078"/>
                </a:solidFill>
              </a:defRPr>
            </a:lvl1pPr>
          </a:lstStyle>
          <a:p>
            <a:fld id="{0AE548F1-6D36-4902-B57A-69A845AA9B7E}" type="slidenum">
              <a:rPr lang="nb-NO" smtClean="0"/>
              <a:pPr/>
              <a:t>‹#›</a:t>
            </a:fld>
            <a:endParaRPr lang="nb-NO"/>
          </a:p>
        </p:txBody>
      </p:sp>
      <p:cxnSp>
        <p:nvCxnSpPr>
          <p:cNvPr id="11" name="Rett linje 10">
            <a:extLst>
              <a:ext uri="{FF2B5EF4-FFF2-40B4-BE49-F238E27FC236}">
                <a16:creationId xmlns:a16="http://schemas.microsoft.com/office/drawing/2014/main" id="{0107BE7A-D25D-44D7-83F7-415179822359}"/>
              </a:ext>
            </a:extLst>
          </p:cNvPr>
          <p:cNvCxnSpPr>
            <a:cxnSpLocks/>
          </p:cNvCxnSpPr>
          <p:nvPr userDrawn="1"/>
        </p:nvCxnSpPr>
        <p:spPr>
          <a:xfrm>
            <a:off x="533400" y="6307200"/>
            <a:ext cx="10938600" cy="0"/>
          </a:xfrm>
          <a:prstGeom prst="line">
            <a:avLst/>
          </a:prstGeom>
          <a:ln w="10800">
            <a:solidFill>
              <a:srgbClr val="CED0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Bilde 12">
            <a:extLst>
              <a:ext uri="{FF2B5EF4-FFF2-40B4-BE49-F238E27FC236}">
                <a16:creationId xmlns:a16="http://schemas.microsoft.com/office/drawing/2014/main" id="{C5AE5843-E707-4657-BE77-0B784C8939F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371857"/>
          </a:xfrm>
          <a:prstGeom prst="rect">
            <a:avLst/>
          </a:prstGeom>
        </p:spPr>
      </p:pic>
      <p:pic>
        <p:nvPicPr>
          <p:cNvPr id="7" name="Bilde 20">
            <a:extLst>
              <a:ext uri="{FF2B5EF4-FFF2-40B4-BE49-F238E27FC236}">
                <a16:creationId xmlns:a16="http://schemas.microsoft.com/office/drawing/2014/main" id="{EBFC77C3-A081-4CAE-BB5B-4E0F5B2007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5987"/>
          <a:stretch/>
        </p:blipFill>
        <p:spPr>
          <a:xfrm>
            <a:off x="1" y="6352074"/>
            <a:ext cx="1343472" cy="505926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D17F5E75-CF4C-41B1-895B-F7C0EF3FEF6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551956" y="6442823"/>
            <a:ext cx="878400" cy="243696"/>
          </a:xfrm>
          <a:prstGeom prst="rect">
            <a:avLst/>
          </a:prstGeom>
        </p:spPr>
      </p:pic>
      <p:pic>
        <p:nvPicPr>
          <p:cNvPr id="9" name="Bilde 20">
            <a:extLst>
              <a:ext uri="{FF2B5EF4-FFF2-40B4-BE49-F238E27FC236}">
                <a16:creationId xmlns:a16="http://schemas.microsoft.com/office/drawing/2014/main" id="{80DF4948-A775-4B30-8100-40A60FC5E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46" r="28943"/>
          <a:stretch/>
        </p:blipFill>
        <p:spPr>
          <a:xfrm>
            <a:off x="2587762" y="6399527"/>
            <a:ext cx="786477" cy="505926"/>
          </a:xfrm>
          <a:prstGeom prst="rect">
            <a:avLst/>
          </a:prstGeom>
        </p:spPr>
      </p:pic>
      <p:pic>
        <p:nvPicPr>
          <p:cNvPr id="15" name="Bilde 20">
            <a:extLst>
              <a:ext uri="{FF2B5EF4-FFF2-40B4-BE49-F238E27FC236}">
                <a16:creationId xmlns:a16="http://schemas.microsoft.com/office/drawing/2014/main" id="{29F110AA-2A61-4DA3-8386-92072BF2EA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376"/>
          <a:stretch/>
        </p:blipFill>
        <p:spPr>
          <a:xfrm>
            <a:off x="3446247" y="6399527"/>
            <a:ext cx="1209593" cy="505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54686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75162"/>
            <a:ext cx="12192000" cy="6016752"/>
          </a:xfrm>
          <a:prstGeom prst="rect">
            <a:avLst/>
          </a:prstGeom>
        </p:spPr>
      </p:pic>
      <p:pic>
        <p:nvPicPr>
          <p:cNvPr id="16" name="Bilde 15">
            <a:extLst>
              <a:ext uri="{FF2B5EF4-FFF2-40B4-BE49-F238E27FC236}">
                <a16:creationId xmlns:a16="http://schemas.microsoft.com/office/drawing/2014/main" id="{B4B32C8C-B3FB-46BB-8134-8308C1F68DB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33400" y="274457"/>
            <a:ext cx="1476759" cy="387097"/>
          </a:xfrm>
          <a:prstGeom prst="rect">
            <a:avLst/>
          </a:prstGeom>
        </p:spPr>
      </p:pic>
      <p:pic>
        <p:nvPicPr>
          <p:cNvPr id="14" name="Bilde 13">
            <a:extLst>
              <a:ext uri="{FF2B5EF4-FFF2-40B4-BE49-F238E27FC236}">
                <a16:creationId xmlns:a16="http://schemas.microsoft.com/office/drawing/2014/main" id="{D827C2E4-FA16-457D-B48B-3A5FE259310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371857"/>
          </a:xfrm>
          <a:prstGeom prst="rect">
            <a:avLst/>
          </a:prstGeom>
        </p:spPr>
      </p:pic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0885178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52" imgH="357" progId="TCLayout.ActiveDocument.1">
                  <p:embed/>
                </p:oleObj>
              </mc:Choice>
              <mc:Fallback>
                <p:oleObj name="think-cell Slide" r:id="rId6" imgW="352" imgH="357" progId="TCLayout.ActiveDocument.1">
                  <p:embed/>
                  <p:pic>
                    <p:nvPicPr>
                      <p:cNvPr id="10" name="Objekt 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720091" y="2720983"/>
            <a:ext cx="10363200" cy="692497"/>
          </a:xfrm>
        </p:spPr>
        <p:txBody>
          <a:bodyPr anchor="t" anchorCtr="0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720091" y="2528619"/>
            <a:ext cx="10363200" cy="192360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25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" y="6150922"/>
            <a:ext cx="12190993" cy="707078"/>
          </a:xfrm>
          <a:prstGeom prst="rect">
            <a:avLst/>
          </a:prstGeom>
        </p:spPr>
      </p:pic>
      <p:sp>
        <p:nvSpPr>
          <p:cNvPr id="17" name="Plassholder for bunntekst 16"/>
          <p:cNvSpPr>
            <a:spLocks noGrp="1"/>
          </p:cNvSpPr>
          <p:nvPr>
            <p:ph type="ftr" sz="quarter" idx="11"/>
          </p:nvPr>
        </p:nvSpPr>
        <p:spPr>
          <a:xfrm>
            <a:off x="720092" y="6518975"/>
            <a:ext cx="5663941" cy="192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50" cap="all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ARRANGEMENT DATO STED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6FD5A64-6217-4874-A328-F894CA1BA4C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608168" y="6480765"/>
            <a:ext cx="741450" cy="24928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ADF4371-BDB7-49AE-BFDD-7E5F3B8280A9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9842775" y="6491418"/>
            <a:ext cx="516459" cy="24928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E3E3D3EC-BA4E-431C-9C63-E195EFEE9486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0669756" y="6555016"/>
            <a:ext cx="954937" cy="10610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7D97C59F-B293-4C9E-8B74-99076A1FAAC1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8664135" y="6485994"/>
            <a:ext cx="879837" cy="252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155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222740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33400" y="1912862"/>
            <a:ext cx="5466691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6192091" y="1912862"/>
            <a:ext cx="5280000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32453905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3 innholdsdeler [#1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33400" y="1912862"/>
            <a:ext cx="5466691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6192091" y="1912859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6192091" y="4122774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12145823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3 innholdsdeler [#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6192091" y="1912862"/>
            <a:ext cx="5280000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33400" y="1912859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33400" y="4122774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28533056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3 innholdsdeler [#3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6192091" y="1912860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33400" y="1912859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33400" y="4122774"/>
            <a:ext cx="10938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12250999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3 innholdsdeler [#4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6192091" y="1912860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33400" y="1912859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33400" y="4122774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0" name="Plassholder for innhold 2"/>
          <p:cNvSpPr>
            <a:spLocks noGrp="1"/>
          </p:cNvSpPr>
          <p:nvPr>
            <p:ph idx="15"/>
          </p:nvPr>
        </p:nvSpPr>
        <p:spPr>
          <a:xfrm>
            <a:off x="6193615" y="4122774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13412764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2028799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7" progId="TCLayout.ActiveDocument.1">
                  <p:embed/>
                </p:oleObj>
              </mc:Choice>
              <mc:Fallback>
                <p:oleObj name="think-cell Slide" r:id="rId3" imgW="352" imgH="357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4688" y="1935882"/>
            <a:ext cx="5275301" cy="521568"/>
          </a:xfrm>
        </p:spPr>
        <p:txBody>
          <a:bodyPr anchor="t" anchorCtr="0">
            <a:normAutofit/>
          </a:bodyPr>
          <a:lstStyle>
            <a:lvl1pPr marL="0" indent="0">
              <a:lnSpc>
                <a:spcPts val="1800"/>
              </a:lnSpc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13" name="Plassholder for innhold 2"/>
          <p:cNvSpPr>
            <a:spLocks noGrp="1"/>
          </p:cNvSpPr>
          <p:nvPr>
            <p:ph idx="13"/>
          </p:nvPr>
        </p:nvSpPr>
        <p:spPr>
          <a:xfrm>
            <a:off x="720091" y="2590800"/>
            <a:ext cx="5280000" cy="3601974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4" name="Plassholder for tekst 2"/>
          <p:cNvSpPr>
            <a:spLocks noGrp="1"/>
          </p:cNvSpPr>
          <p:nvPr>
            <p:ph type="body" idx="14"/>
          </p:nvPr>
        </p:nvSpPr>
        <p:spPr>
          <a:xfrm>
            <a:off x="6196688" y="1935882"/>
            <a:ext cx="5275301" cy="521568"/>
          </a:xfrm>
        </p:spPr>
        <p:txBody>
          <a:bodyPr anchor="t" anchorCtr="0">
            <a:normAutofit/>
          </a:bodyPr>
          <a:lstStyle>
            <a:lvl1pPr marL="0" indent="0">
              <a:lnSpc>
                <a:spcPts val="1800"/>
              </a:lnSpc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5" name="Plassholder for innhold 2"/>
          <p:cNvSpPr>
            <a:spLocks noGrp="1"/>
          </p:cNvSpPr>
          <p:nvPr>
            <p:ph idx="15"/>
          </p:nvPr>
        </p:nvSpPr>
        <p:spPr>
          <a:xfrm>
            <a:off x="6192091" y="2590800"/>
            <a:ext cx="5280000" cy="3601974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32942721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5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Bilde 14">
            <a:extLst>
              <a:ext uri="{FF2B5EF4-FFF2-40B4-BE49-F238E27FC236}">
                <a16:creationId xmlns:a16="http://schemas.microsoft.com/office/drawing/2014/main" id="{8A2348A0-15E3-4362-9782-EE3A08E8AF44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533400" y="274457"/>
            <a:ext cx="1476759" cy="387097"/>
          </a:xfrm>
          <a:prstGeom prst="rect">
            <a:avLst/>
          </a:prstGeom>
        </p:spPr>
      </p:pic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533400" y="1429023"/>
            <a:ext cx="10938691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33400" y="1912862"/>
            <a:ext cx="10938691" cy="427991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664796" y="6359378"/>
            <a:ext cx="2807297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>
                <a:solidFill>
                  <a:srgbClr val="697078"/>
                </a:solidFill>
              </a:defRPr>
            </a:lvl1pPr>
          </a:lstStyle>
          <a:p>
            <a:fld id="{0AE548F1-6D36-4902-B57A-69A845AA9B7E}" type="slidenum">
              <a:rPr lang="nb-NO" smtClean="0"/>
              <a:pPr/>
              <a:t>‹#›</a:t>
            </a:fld>
            <a:endParaRPr lang="nb-NO"/>
          </a:p>
        </p:txBody>
      </p:sp>
      <p:cxnSp>
        <p:nvCxnSpPr>
          <p:cNvPr id="9" name="Rett linje 8"/>
          <p:cNvCxnSpPr>
            <a:cxnSpLocks/>
          </p:cNvCxnSpPr>
          <p:nvPr userDrawn="1"/>
        </p:nvCxnSpPr>
        <p:spPr>
          <a:xfrm>
            <a:off x="533400" y="1800000"/>
            <a:ext cx="10938600" cy="0"/>
          </a:xfrm>
          <a:prstGeom prst="line">
            <a:avLst/>
          </a:prstGeom>
          <a:ln w="10800">
            <a:solidFill>
              <a:srgbClr val="CED0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Rett linje 10"/>
          <p:cNvCxnSpPr>
            <a:cxnSpLocks/>
          </p:cNvCxnSpPr>
          <p:nvPr userDrawn="1"/>
        </p:nvCxnSpPr>
        <p:spPr>
          <a:xfrm>
            <a:off x="533400" y="6307200"/>
            <a:ext cx="10938600" cy="0"/>
          </a:xfrm>
          <a:prstGeom prst="line">
            <a:avLst/>
          </a:prstGeom>
          <a:ln w="10800">
            <a:solidFill>
              <a:srgbClr val="CED0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Bilde 20"/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5987"/>
          <a:stretch/>
        </p:blipFill>
        <p:spPr>
          <a:xfrm>
            <a:off x="1" y="6352074"/>
            <a:ext cx="1343472" cy="505926"/>
          </a:xfrm>
          <a:prstGeom prst="rect">
            <a:avLst/>
          </a:prstGeom>
        </p:spPr>
      </p:pic>
      <p:pic>
        <p:nvPicPr>
          <p:cNvPr id="18" name="Bilde 17">
            <a:extLst>
              <a:ext uri="{FF2B5EF4-FFF2-40B4-BE49-F238E27FC236}">
                <a16:creationId xmlns:a16="http://schemas.microsoft.com/office/drawing/2014/main" id="{900601F6-A1B9-4858-8413-6C09ADD9E5BD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0" y="0"/>
            <a:ext cx="12192000" cy="371857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F42A6663-FEE6-4609-9351-4BD47781FC9C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551956" y="6442823"/>
            <a:ext cx="878400" cy="243696"/>
          </a:xfrm>
          <a:prstGeom prst="rect">
            <a:avLst/>
          </a:prstGeom>
        </p:spPr>
      </p:pic>
      <p:pic>
        <p:nvPicPr>
          <p:cNvPr id="23" name="Bilde 20">
            <a:extLst>
              <a:ext uri="{FF2B5EF4-FFF2-40B4-BE49-F238E27FC236}">
                <a16:creationId xmlns:a16="http://schemas.microsoft.com/office/drawing/2014/main" id="{1C9621FE-2E3F-4A46-B718-1612A431E0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46" r="28943"/>
          <a:stretch/>
        </p:blipFill>
        <p:spPr>
          <a:xfrm>
            <a:off x="2587762" y="6399527"/>
            <a:ext cx="786477" cy="505926"/>
          </a:xfrm>
          <a:prstGeom prst="rect">
            <a:avLst/>
          </a:prstGeom>
        </p:spPr>
      </p:pic>
      <p:pic>
        <p:nvPicPr>
          <p:cNvPr id="24" name="Bilde 20">
            <a:extLst>
              <a:ext uri="{FF2B5EF4-FFF2-40B4-BE49-F238E27FC236}">
                <a16:creationId xmlns:a16="http://schemas.microsoft.com/office/drawing/2014/main" id="{3CE2D302-7046-4945-84FE-150D17D450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376"/>
          <a:stretch/>
        </p:blipFill>
        <p:spPr>
          <a:xfrm>
            <a:off x="3446247" y="6399527"/>
            <a:ext cx="1209593" cy="505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4239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  <p:sldLayoutId id="2147483650" r:id="rId3"/>
    <p:sldLayoutId id="2147483652" r:id="rId4"/>
    <p:sldLayoutId id="2147483658" r:id="rId5"/>
    <p:sldLayoutId id="2147483659" r:id="rId6"/>
    <p:sldLayoutId id="2147483660" r:id="rId7"/>
    <p:sldLayoutId id="2147483661" r:id="rId8"/>
    <p:sldLayoutId id="2147483653" r:id="rId9"/>
    <p:sldLayoutId id="2147483655" r:id="rId10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1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ct val="20000"/>
        </a:spcBef>
        <a:buClr>
          <a:srgbClr val="828990"/>
        </a:buClr>
        <a:buFont typeface="Arial" pitchFamily="34" charset="0"/>
        <a:buChar char="›"/>
        <a:defRPr sz="1600" kern="1200">
          <a:solidFill>
            <a:srgbClr val="4E5761"/>
          </a:solidFill>
          <a:latin typeface="+mn-lt"/>
          <a:ea typeface="+mn-ea"/>
          <a:cs typeface="+mn-cs"/>
        </a:defRPr>
      </a:lvl1pPr>
      <a:lvl2pPr marL="355600" indent="-174625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rgbClr val="4E5761"/>
          </a:solidFill>
          <a:latin typeface="+mn-lt"/>
          <a:ea typeface="+mn-ea"/>
          <a:cs typeface="+mn-cs"/>
        </a:defRPr>
      </a:lvl2pPr>
      <a:lvl3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›"/>
        <a:defRPr sz="1200" kern="1200">
          <a:solidFill>
            <a:srgbClr val="697078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•"/>
        <a:defRPr sz="1000" kern="1200">
          <a:solidFill>
            <a:srgbClr val="697078"/>
          </a:solidFill>
          <a:latin typeface="+mn-lt"/>
          <a:ea typeface="+mn-ea"/>
          <a:cs typeface="+mn-cs"/>
        </a:defRPr>
      </a:lvl4pPr>
      <a:lvl5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›"/>
        <a:defRPr sz="800" kern="1200">
          <a:solidFill>
            <a:srgbClr val="697078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720090" y="3054390"/>
            <a:ext cx="11290677" cy="430887"/>
          </a:xfrm>
        </p:spPr>
        <p:txBody>
          <a:bodyPr/>
          <a:lstStyle/>
          <a:p>
            <a:r>
              <a:rPr lang="en-US" sz="2800" dirty="0" err="1"/>
              <a:t>NorCPM</a:t>
            </a:r>
            <a:r>
              <a:rPr lang="en-US" sz="2800" dirty="0"/>
              <a:t>-CF – Norwegian Climate Prediction Model for Climate Futures</a:t>
            </a:r>
            <a:endParaRPr lang="nb-NO" sz="2800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694145" y="3776021"/>
            <a:ext cx="9815359" cy="1871282"/>
          </a:xfrm>
        </p:spPr>
        <p:txBody>
          <a:bodyPr/>
          <a:lstStyle/>
          <a:p>
            <a:r>
              <a:rPr lang="nb-NO" sz="1600" dirty="0"/>
              <a:t>Ingo bethke</a:t>
            </a:r>
            <a:r>
              <a:rPr lang="nb-NO" sz="1600" baseline="30000" dirty="0"/>
              <a:t>1,2</a:t>
            </a:r>
            <a:r>
              <a:rPr lang="nb-NO" sz="1600" dirty="0"/>
              <a:t>, </a:t>
            </a:r>
            <a:r>
              <a:rPr lang="nb-NO" sz="1600" dirty="0" err="1"/>
              <a:t>Fran</a:t>
            </a:r>
            <a:r>
              <a:rPr lang="en-GB" sz="1600" dirty="0" err="1">
                <a:effectLst/>
              </a:rPr>
              <a:t>ç</a:t>
            </a:r>
            <a:r>
              <a:rPr lang="nb-NO" sz="1600" dirty="0" err="1"/>
              <a:t>ois</a:t>
            </a:r>
            <a:r>
              <a:rPr lang="nb-NO" sz="1600" dirty="0"/>
              <a:t> counillon</a:t>
            </a:r>
            <a:r>
              <a:rPr lang="nb-NO" sz="1600" baseline="30000" dirty="0"/>
              <a:t>1,2,3</a:t>
            </a:r>
            <a:r>
              <a:rPr lang="nb-NO" sz="1600" dirty="0"/>
              <a:t>, Ping-gin Chiu</a:t>
            </a:r>
            <a:r>
              <a:rPr lang="nb-NO" sz="1600" baseline="30000" dirty="0"/>
              <a:t>1,2</a:t>
            </a:r>
            <a:r>
              <a:rPr lang="nb-NO" sz="1600" dirty="0"/>
              <a:t>, </a:t>
            </a:r>
            <a:r>
              <a:rPr lang="nb-NO" sz="1600" dirty="0" err="1"/>
              <a:t>akhilesh</a:t>
            </a:r>
            <a:r>
              <a:rPr lang="nb-NO" sz="1600" dirty="0"/>
              <a:t> Nair</a:t>
            </a:r>
            <a:r>
              <a:rPr lang="nb-NO" sz="1600" baseline="30000" dirty="0"/>
              <a:t>1,2</a:t>
            </a:r>
            <a:r>
              <a:rPr lang="nb-NO" sz="1600" dirty="0"/>
              <a:t> and </a:t>
            </a:r>
            <a:r>
              <a:rPr lang="nb-NO" sz="1600" dirty="0" err="1"/>
              <a:t>others</a:t>
            </a:r>
            <a:r>
              <a:rPr lang="nb-NO" sz="1600" dirty="0"/>
              <a:t> </a:t>
            </a:r>
          </a:p>
          <a:p>
            <a:endParaRPr lang="nb-NO" sz="1600" dirty="0"/>
          </a:p>
          <a:p>
            <a:r>
              <a:rPr lang="nb-NO" sz="1200" baseline="30000" dirty="0"/>
              <a:t>1</a:t>
            </a:r>
            <a:r>
              <a:rPr lang="nb-NO" sz="1200" dirty="0"/>
              <a:t>University </a:t>
            </a:r>
            <a:r>
              <a:rPr lang="nb-NO" sz="1200" dirty="0" err="1"/>
              <a:t>of</a:t>
            </a:r>
            <a:r>
              <a:rPr lang="nb-NO" sz="1200" dirty="0"/>
              <a:t> Bergen</a:t>
            </a:r>
          </a:p>
          <a:p>
            <a:r>
              <a:rPr lang="nb-NO" sz="1200" baseline="30000" dirty="0"/>
              <a:t>2</a:t>
            </a:r>
            <a:r>
              <a:rPr lang="nb-NO" sz="1200" dirty="0"/>
              <a:t>Bjerknes </a:t>
            </a:r>
            <a:r>
              <a:rPr lang="nb-NO" sz="1200" dirty="0" err="1"/>
              <a:t>centre</a:t>
            </a:r>
            <a:r>
              <a:rPr lang="nb-NO" sz="1200" dirty="0"/>
              <a:t> for </a:t>
            </a:r>
            <a:r>
              <a:rPr lang="nb-NO" sz="1200" dirty="0" err="1"/>
              <a:t>climate</a:t>
            </a:r>
            <a:r>
              <a:rPr lang="nb-NO" sz="1200" dirty="0"/>
              <a:t> </a:t>
            </a:r>
            <a:r>
              <a:rPr lang="nb-NO" sz="1200" dirty="0" err="1"/>
              <a:t>research</a:t>
            </a:r>
            <a:r>
              <a:rPr lang="nb-NO" sz="1200" dirty="0"/>
              <a:t> </a:t>
            </a:r>
          </a:p>
          <a:p>
            <a:r>
              <a:rPr lang="nb-NO" sz="1200" baseline="30000" dirty="0"/>
              <a:t>3</a:t>
            </a:r>
            <a:r>
              <a:rPr lang="nb-NO" sz="1200" dirty="0"/>
              <a:t>Nansen </a:t>
            </a:r>
            <a:r>
              <a:rPr lang="nb-NO" sz="1200" dirty="0" err="1"/>
              <a:t>environmental</a:t>
            </a:r>
            <a:r>
              <a:rPr lang="nb-NO" sz="1200" dirty="0"/>
              <a:t> and </a:t>
            </a:r>
            <a:r>
              <a:rPr lang="nb-NO" sz="1200" dirty="0" err="1"/>
              <a:t>remote</a:t>
            </a:r>
            <a:r>
              <a:rPr lang="nb-NO" sz="1200" dirty="0"/>
              <a:t> </a:t>
            </a:r>
            <a:r>
              <a:rPr lang="nb-NO" sz="1200" dirty="0" err="1"/>
              <a:t>sensing</a:t>
            </a:r>
            <a:r>
              <a:rPr lang="nb-NO" sz="1200" dirty="0"/>
              <a:t> </a:t>
            </a:r>
            <a:r>
              <a:rPr lang="nb-NO" sz="1200" dirty="0" err="1"/>
              <a:t>center</a:t>
            </a:r>
            <a:endParaRPr lang="nb-NO" sz="1200" dirty="0"/>
          </a:p>
          <a:p>
            <a:r>
              <a:rPr lang="nb-NO" sz="1200" baseline="30000" dirty="0"/>
              <a:t>4</a:t>
            </a:r>
            <a:r>
              <a:rPr lang="nb-NO" sz="1200" dirty="0"/>
              <a:t>Institute </a:t>
            </a:r>
            <a:r>
              <a:rPr lang="nb-NO" sz="1200" dirty="0" err="1"/>
              <a:t>of</a:t>
            </a:r>
            <a:r>
              <a:rPr lang="nb-NO" sz="1200" dirty="0"/>
              <a:t> marine </a:t>
            </a:r>
            <a:r>
              <a:rPr lang="nb-NO" sz="1200" dirty="0" err="1"/>
              <a:t>research</a:t>
            </a:r>
            <a:endParaRPr lang="nb-NO" sz="1200" dirty="0"/>
          </a:p>
          <a:p>
            <a:endParaRPr lang="nb-NO" sz="1200" dirty="0"/>
          </a:p>
          <a:p>
            <a:r>
              <a:rPr lang="nb-NO" sz="1200" dirty="0" err="1"/>
              <a:t>Contact</a:t>
            </a:r>
            <a:r>
              <a:rPr lang="nb-NO" sz="1200" dirty="0"/>
              <a:t>: </a:t>
            </a:r>
            <a:r>
              <a:rPr lang="nb-NO" sz="1200" dirty="0" err="1"/>
              <a:t>ingo.bethke@uib.no</a:t>
            </a:r>
            <a:endParaRPr lang="nb-NO" sz="1200" dirty="0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>
          <a:xfrm>
            <a:off x="720092" y="6518975"/>
            <a:ext cx="5898422" cy="192360"/>
          </a:xfrm>
        </p:spPr>
        <p:txBody>
          <a:bodyPr/>
          <a:lstStyle/>
          <a:p>
            <a:r>
              <a:rPr lang="nb-NO" dirty="0"/>
              <a:t>19 August 2024, </a:t>
            </a:r>
            <a:r>
              <a:rPr lang="nb-NO" dirty="0" err="1"/>
              <a:t>bjerknes</a:t>
            </a:r>
            <a:r>
              <a:rPr lang="nb-NO" dirty="0"/>
              <a:t> </a:t>
            </a:r>
            <a:r>
              <a:rPr lang="nb-NO" dirty="0" err="1"/>
              <a:t>center</a:t>
            </a:r>
            <a:r>
              <a:rPr lang="nb-NO" dirty="0"/>
              <a:t>, Bergen</a:t>
            </a:r>
          </a:p>
        </p:txBody>
      </p:sp>
    </p:spTree>
    <p:extLst>
      <p:ext uri="{BB962C8B-B14F-4D97-AF65-F5344CB8AC3E}">
        <p14:creationId xmlns:p14="http://schemas.microsoft.com/office/powerpoint/2010/main" val="22310843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24D2CF-D65B-2043-E142-255DC1C37D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2532" y="1234799"/>
            <a:ext cx="11366500" cy="5623201"/>
          </a:xfrm>
        </p:spPr>
        <p:txBody>
          <a:bodyPr>
            <a:normAutofit/>
          </a:bodyPr>
          <a:lstStyle/>
          <a:p>
            <a:pPr>
              <a:buFont typeface="Wingdings" pitchFamily="2" charset="2"/>
              <a:buChar char="Ø"/>
            </a:pPr>
            <a:r>
              <a:rPr lang="en-NO" sz="2000" dirty="0">
                <a:solidFill>
                  <a:schemeClr val="tx1"/>
                </a:solidFill>
              </a:rPr>
              <a:t>Code and input data spread over many locations</a:t>
            </a:r>
            <a:endParaRPr lang="en-GB" sz="20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GB" sz="1400" i="1" dirty="0" err="1">
                <a:solidFill>
                  <a:schemeClr val="tx1"/>
                </a:solidFill>
              </a:rPr>
              <a:t>github.com</a:t>
            </a:r>
            <a:r>
              <a:rPr lang="en-GB" sz="1400" i="1" dirty="0">
                <a:solidFill>
                  <a:schemeClr val="tx1"/>
                </a:solidFill>
              </a:rPr>
              <a:t>/</a:t>
            </a:r>
            <a:r>
              <a:rPr lang="en-GB" sz="1400" i="1" dirty="0" err="1">
                <a:solidFill>
                  <a:schemeClr val="tx1"/>
                </a:solidFill>
              </a:rPr>
              <a:t>BjerknesCPU</a:t>
            </a:r>
            <a:r>
              <a:rPr lang="en-GB" sz="1400" i="1" dirty="0">
                <a:solidFill>
                  <a:schemeClr val="tx1"/>
                </a:solidFill>
              </a:rPr>
              <a:t>/</a:t>
            </a:r>
            <a:r>
              <a:rPr lang="en-GB" sz="1400" i="1" dirty="0" err="1">
                <a:solidFill>
                  <a:schemeClr val="tx1"/>
                </a:solidFill>
              </a:rPr>
              <a:t>NorCPM.git</a:t>
            </a:r>
            <a:r>
              <a:rPr lang="en-NO" sz="1400" i="1" dirty="0">
                <a:solidFill>
                  <a:schemeClr val="tx1"/>
                </a:solidFill>
              </a:rPr>
              <a:t> </a:t>
            </a:r>
            <a:r>
              <a:rPr lang="en-NO" sz="1400" dirty="0">
                <a:solidFill>
                  <a:schemeClr val="tx1"/>
                </a:solidFill>
              </a:rPr>
              <a:t>(NorESM code, scripts for setting up simulations ensembles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400" i="1" dirty="0">
                <a:solidFill>
                  <a:srgbClr val="000000"/>
                </a:solidFill>
                <a:effectLst/>
              </a:rPr>
              <a:t>/cluster/shared/</a:t>
            </a:r>
            <a:r>
              <a:rPr lang="en-GB" sz="1400" i="1" dirty="0" err="1">
                <a:solidFill>
                  <a:srgbClr val="000000"/>
                </a:solidFill>
                <a:effectLst/>
              </a:rPr>
              <a:t>noresm</a:t>
            </a:r>
            <a:r>
              <a:rPr lang="en-GB" sz="1400" i="1" dirty="0">
                <a:solidFill>
                  <a:srgbClr val="000000"/>
                </a:solidFill>
                <a:effectLst/>
              </a:rPr>
              <a:t>/</a:t>
            </a:r>
            <a:r>
              <a:rPr lang="en-GB" sz="1400" i="1" dirty="0" err="1">
                <a:solidFill>
                  <a:srgbClr val="000000"/>
                </a:solidFill>
                <a:effectLst/>
              </a:rPr>
              <a:t>inputdata</a:t>
            </a:r>
            <a:r>
              <a:rPr lang="en-GB" sz="1400" i="1" dirty="0">
                <a:solidFill>
                  <a:srgbClr val="000000"/>
                </a:solidFill>
                <a:effectLst/>
              </a:rPr>
              <a:t> </a:t>
            </a:r>
            <a:r>
              <a:rPr lang="en-GB" sz="1400" dirty="0">
                <a:solidFill>
                  <a:srgbClr val="000000"/>
                </a:solidFill>
              </a:rPr>
              <a:t>(</a:t>
            </a:r>
            <a:r>
              <a:rPr lang="en-NO" sz="1400" dirty="0">
                <a:solidFill>
                  <a:schemeClr val="tx1"/>
                </a:solidFill>
              </a:rPr>
              <a:t>NorESM input data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400" i="1" dirty="0">
                <a:solidFill>
                  <a:srgbClr val="000000"/>
                </a:solidFill>
                <a:effectLst/>
              </a:rPr>
              <a:t>/cluster/shared/</a:t>
            </a:r>
            <a:r>
              <a:rPr lang="en-GB" sz="1400" i="1" dirty="0" err="1">
                <a:solidFill>
                  <a:srgbClr val="000000"/>
                </a:solidFill>
                <a:effectLst/>
              </a:rPr>
              <a:t>noresm</a:t>
            </a:r>
            <a:r>
              <a:rPr lang="en-GB" sz="1400" i="1" dirty="0">
                <a:solidFill>
                  <a:srgbClr val="000000"/>
                </a:solidFill>
                <a:effectLst/>
              </a:rPr>
              <a:t>/</a:t>
            </a:r>
            <a:r>
              <a:rPr lang="en-GB" sz="1400" i="1" dirty="0" err="1">
                <a:solidFill>
                  <a:srgbClr val="000000"/>
                </a:solidFill>
                <a:effectLst/>
              </a:rPr>
              <a:t>norcpm</a:t>
            </a:r>
            <a:r>
              <a:rPr lang="en-GB" sz="1400" i="1" dirty="0">
                <a:solidFill>
                  <a:srgbClr val="000000"/>
                </a:solidFill>
                <a:effectLst/>
              </a:rPr>
              <a:t>/Input </a:t>
            </a:r>
            <a:r>
              <a:rPr lang="en-GB" sz="1400" dirty="0">
                <a:solidFill>
                  <a:srgbClr val="000000"/>
                </a:solidFill>
                <a:effectLst/>
              </a:rPr>
              <a:t>(assimilation settings)</a:t>
            </a:r>
            <a:endParaRPr lang="en-NO" sz="14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GB" sz="1400" i="1" dirty="0">
                <a:solidFill>
                  <a:schemeClr val="tx1"/>
                </a:solidFill>
                <a:effectLst/>
              </a:rPr>
              <a:t>/cluster/shared/</a:t>
            </a:r>
            <a:r>
              <a:rPr lang="en-GB" sz="1400" i="1" dirty="0" err="1">
                <a:solidFill>
                  <a:schemeClr val="tx1"/>
                </a:solidFill>
                <a:effectLst/>
              </a:rPr>
              <a:t>noresm</a:t>
            </a:r>
            <a:r>
              <a:rPr lang="en-GB" sz="1400" i="1" dirty="0">
                <a:solidFill>
                  <a:schemeClr val="tx1"/>
                </a:solidFill>
                <a:effectLst/>
              </a:rPr>
              <a:t>/</a:t>
            </a:r>
            <a:r>
              <a:rPr lang="en-GB" sz="1400" i="1" dirty="0" err="1">
                <a:solidFill>
                  <a:schemeClr val="tx1"/>
                </a:solidFill>
                <a:effectLst/>
              </a:rPr>
              <a:t>norcpm</a:t>
            </a:r>
            <a:r>
              <a:rPr lang="en-GB" sz="1400" i="1" dirty="0">
                <a:solidFill>
                  <a:schemeClr val="tx1"/>
                </a:solidFill>
                <a:effectLst/>
              </a:rPr>
              <a:t>/bin </a:t>
            </a:r>
            <a:r>
              <a:rPr lang="en-GB" sz="1400" dirty="0">
                <a:solidFill>
                  <a:schemeClr val="tx1"/>
                </a:solidFill>
                <a:effectLst/>
              </a:rPr>
              <a:t>(</a:t>
            </a:r>
            <a:r>
              <a:rPr lang="en-NO" sz="1400" dirty="0">
                <a:solidFill>
                  <a:schemeClr val="tx1"/>
                </a:solidFill>
              </a:rPr>
              <a:t>assimilation executables)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400" i="1" dirty="0">
                <a:solidFill>
                  <a:schemeClr val="tx1"/>
                </a:solidFill>
                <a:effectLst/>
              </a:rPr>
              <a:t>/cluster/projects/nn9039k/</a:t>
            </a:r>
            <a:r>
              <a:rPr lang="en-GB" sz="1400" i="1" dirty="0" err="1">
                <a:solidFill>
                  <a:schemeClr val="tx1"/>
                </a:solidFill>
                <a:effectLst/>
              </a:rPr>
              <a:t>NorCPM</a:t>
            </a:r>
            <a:r>
              <a:rPr lang="en-GB" sz="1400" i="1" dirty="0">
                <a:solidFill>
                  <a:schemeClr val="tx1"/>
                </a:solidFill>
                <a:effectLst/>
              </a:rPr>
              <a:t>/Code </a:t>
            </a:r>
            <a:r>
              <a:rPr lang="en-GB" sz="1400" dirty="0">
                <a:solidFill>
                  <a:schemeClr val="tx1"/>
                </a:solidFill>
                <a:effectLst/>
              </a:rPr>
              <a:t>(assimilation </a:t>
            </a:r>
            <a:r>
              <a:rPr lang="en-GB" sz="1400" dirty="0">
                <a:solidFill>
                  <a:schemeClr val="tx1"/>
                </a:solidFill>
              </a:rPr>
              <a:t>source code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400" i="1" dirty="0">
                <a:solidFill>
                  <a:srgbClr val="000000"/>
                </a:solidFill>
                <a:effectLst/>
              </a:rPr>
              <a:t>/cluster/projects/nn9039k/</a:t>
            </a:r>
            <a:r>
              <a:rPr lang="en-GB" sz="1400" i="1" dirty="0" err="1">
                <a:solidFill>
                  <a:srgbClr val="000000"/>
                </a:solidFill>
                <a:effectLst/>
              </a:rPr>
              <a:t>NorCPM</a:t>
            </a:r>
            <a:r>
              <a:rPr lang="en-GB" sz="1400" i="1" dirty="0">
                <a:solidFill>
                  <a:srgbClr val="000000"/>
                </a:solidFill>
                <a:effectLst/>
              </a:rPr>
              <a:t>/</a:t>
            </a:r>
            <a:r>
              <a:rPr lang="en-GB" sz="1400" i="1" dirty="0" err="1">
                <a:solidFill>
                  <a:srgbClr val="000000"/>
                </a:solidFill>
                <a:effectLst/>
              </a:rPr>
              <a:t>Obs</a:t>
            </a:r>
            <a:r>
              <a:rPr lang="en-GB" sz="1400" i="1" dirty="0">
                <a:solidFill>
                  <a:srgbClr val="000000"/>
                </a:solidFill>
                <a:effectLst/>
              </a:rPr>
              <a:t> </a:t>
            </a:r>
            <a:r>
              <a:rPr lang="en-GB" sz="1400" dirty="0">
                <a:solidFill>
                  <a:srgbClr val="000000"/>
                </a:solidFill>
                <a:effectLst/>
              </a:rPr>
              <a:t>(assimilation observations) </a:t>
            </a:r>
            <a:endParaRPr lang="en-NO" sz="50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endParaRPr lang="en-NO" sz="50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NO" sz="2000" dirty="0">
                <a:solidFill>
                  <a:schemeClr val="tx1"/>
                </a:solidFill>
              </a:rPr>
              <a:t>Many variants of assimilation code locally on Betzy</a:t>
            </a:r>
          </a:p>
          <a:p>
            <a:pPr marL="0" indent="0">
              <a:buNone/>
            </a:pPr>
            <a:endParaRPr lang="en-NO" sz="20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NO" sz="20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NO" sz="20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NO" sz="200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NO" sz="1000" dirty="0">
                <a:solidFill>
                  <a:schemeClr val="tx1"/>
                </a:solidFill>
              </a:rPr>
              <a:t> </a:t>
            </a:r>
          </a:p>
          <a:p>
            <a:pPr marL="0" indent="0">
              <a:buNone/>
            </a:pPr>
            <a:endParaRPr lang="en-NO" sz="50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NO" sz="2000" dirty="0">
                <a:solidFill>
                  <a:schemeClr val="tx1"/>
                </a:solidFill>
              </a:rPr>
              <a:t>Limited technical documentation (some info on </a:t>
            </a:r>
            <a:r>
              <a:rPr lang="en-GB" sz="2000" dirty="0" err="1">
                <a:solidFill>
                  <a:schemeClr val="tx1"/>
                </a:solidFill>
              </a:rPr>
              <a:t>wiki.uib.no</a:t>
            </a:r>
            <a:r>
              <a:rPr lang="en-GB" sz="2000" dirty="0">
                <a:solidFill>
                  <a:schemeClr val="tx1"/>
                </a:solidFill>
              </a:rPr>
              <a:t>/</a:t>
            </a:r>
            <a:r>
              <a:rPr lang="en-GB" sz="2000" dirty="0" err="1">
                <a:solidFill>
                  <a:schemeClr val="tx1"/>
                </a:solidFill>
              </a:rPr>
              <a:t>norcpm</a:t>
            </a:r>
            <a:r>
              <a:rPr lang="en-GB" sz="2000" dirty="0">
                <a:solidFill>
                  <a:schemeClr val="tx1"/>
                </a:solidFill>
              </a:rPr>
              <a:t>)</a:t>
            </a:r>
            <a:r>
              <a:rPr lang="en-NO" sz="2000" dirty="0">
                <a:solidFill>
                  <a:schemeClr val="tx1"/>
                </a:solidFill>
              </a:rPr>
              <a:t>, no version control via git</a:t>
            </a:r>
            <a:endParaRPr lang="en-NO" sz="80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NO" sz="500" dirty="0">
                <a:solidFill>
                  <a:schemeClr val="tx1"/>
                </a:solidFill>
              </a:rPr>
              <a:t> </a:t>
            </a:r>
          </a:p>
          <a:p>
            <a:pPr>
              <a:buFont typeface="Wingdings" pitchFamily="2" charset="2"/>
              <a:buChar char="Ø"/>
            </a:pPr>
            <a:r>
              <a:rPr lang="en-NO" sz="2000" dirty="0">
                <a:solidFill>
                  <a:schemeClr val="tx1"/>
                </a:solidFill>
              </a:rPr>
              <a:t>Lack of strategy/best-practice/governance for collaborative NorCPM development</a:t>
            </a:r>
            <a:endParaRPr lang="en-NO" sz="80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endParaRPr lang="en-NO" sz="50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NO" sz="2000" dirty="0">
                <a:solidFill>
                  <a:schemeClr val="tx1"/>
                </a:solidFill>
              </a:rPr>
              <a:t>No user-guide, test suits, examples </a:t>
            </a:r>
          </a:p>
        </p:txBody>
      </p:sp>
      <p:pic>
        <p:nvPicPr>
          <p:cNvPr id="5" name="Picture 4" descr="Text&#10;&#10;Description automatically generated">
            <a:extLst>
              <a:ext uri="{FF2B5EF4-FFF2-40B4-BE49-F238E27FC236}">
                <a16:creationId xmlns:a16="http://schemas.microsoft.com/office/drawing/2014/main" id="{D46A87F3-1691-DFC6-F3DB-028FE97202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3400" y="3595159"/>
            <a:ext cx="8214360" cy="160776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0938691" cy="338554"/>
          </a:xfrm>
        </p:spPr>
        <p:txBody>
          <a:bodyPr/>
          <a:lstStyle/>
          <a:p>
            <a:r>
              <a:rPr lang="en-NO" sz="2200" dirty="0"/>
              <a:t>NorCPM classic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946616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24D2CF-D65B-2043-E142-255DC1C37D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234799"/>
            <a:ext cx="11366500" cy="5623201"/>
          </a:xfrm>
        </p:spPr>
        <p:txBody>
          <a:bodyPr>
            <a:normAutofit/>
          </a:bodyPr>
          <a:lstStyle/>
          <a:p>
            <a:pPr>
              <a:buFont typeface="Wingdings" pitchFamily="2" charset="2"/>
              <a:buChar char="Ø"/>
            </a:pPr>
            <a:r>
              <a:rPr lang="en-NO" sz="2000" dirty="0">
                <a:solidFill>
                  <a:schemeClr val="tx1"/>
                </a:solidFill>
              </a:rPr>
              <a:t>NorCPM (NorESM+assimilation) code, scripts and settings in single git-repository </a:t>
            </a:r>
            <a:r>
              <a:rPr lang="en-GB" sz="1800" i="1" dirty="0">
                <a:solidFill>
                  <a:srgbClr val="000000"/>
                </a:solidFill>
                <a:effectLst/>
              </a:rPr>
              <a:t>https://github.com/BjerknesCPU/</a:t>
            </a:r>
            <a:r>
              <a:rPr lang="en-GB" sz="1800" i="1" dirty="0" err="1">
                <a:solidFill>
                  <a:srgbClr val="000000"/>
                </a:solidFill>
                <a:effectLst/>
              </a:rPr>
              <a:t>NorCPM</a:t>
            </a:r>
            <a:r>
              <a:rPr lang="en-GB" sz="1800" i="1" dirty="0">
                <a:solidFill>
                  <a:srgbClr val="000000"/>
                </a:solidFill>
                <a:effectLst/>
              </a:rPr>
              <a:t>-CF</a:t>
            </a:r>
            <a:endParaRPr lang="en-GB" sz="1800" i="1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GB" sz="100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GB" sz="2000" dirty="0" err="1">
                <a:solidFill>
                  <a:schemeClr val="tx1"/>
                </a:solidFill>
              </a:rPr>
              <a:t>NorCPM</a:t>
            </a:r>
            <a:r>
              <a:rPr lang="en-GB" sz="2000" dirty="0">
                <a:solidFill>
                  <a:schemeClr val="tx1"/>
                </a:solidFill>
              </a:rPr>
              <a:t> (</a:t>
            </a:r>
            <a:r>
              <a:rPr lang="en-GB" sz="2000" dirty="0" err="1">
                <a:solidFill>
                  <a:schemeClr val="tx1"/>
                </a:solidFill>
              </a:rPr>
              <a:t>NorESM+assimilation</a:t>
            </a:r>
            <a:r>
              <a:rPr lang="en-GB" sz="2000" dirty="0">
                <a:solidFill>
                  <a:schemeClr val="tx1"/>
                </a:solidFill>
              </a:rPr>
              <a:t>) input data in single location on </a:t>
            </a:r>
            <a:r>
              <a:rPr lang="en-GB" sz="2000" dirty="0" err="1">
                <a:solidFill>
                  <a:schemeClr val="tx1"/>
                </a:solidFill>
              </a:rPr>
              <a:t>Betzy</a:t>
            </a:r>
            <a:r>
              <a:rPr lang="en-GB" sz="2000" dirty="0">
                <a:solidFill>
                  <a:schemeClr val="tx1"/>
                </a:solidFill>
              </a:rPr>
              <a:t> </a:t>
            </a:r>
            <a:r>
              <a:rPr lang="en-GB" sz="1800" i="1" dirty="0">
                <a:solidFill>
                  <a:srgbClr val="000000"/>
                </a:solidFill>
                <a:effectLst/>
              </a:rPr>
              <a:t>/cluster/shared/</a:t>
            </a:r>
            <a:r>
              <a:rPr lang="en-GB" sz="1800" i="1" dirty="0" err="1">
                <a:solidFill>
                  <a:srgbClr val="000000"/>
                </a:solidFill>
                <a:effectLst/>
              </a:rPr>
              <a:t>noresm</a:t>
            </a:r>
            <a:r>
              <a:rPr lang="en-GB" sz="1800" i="1" dirty="0">
                <a:solidFill>
                  <a:srgbClr val="000000"/>
                </a:solidFill>
                <a:effectLst/>
              </a:rPr>
              <a:t>/</a:t>
            </a:r>
            <a:r>
              <a:rPr lang="en-GB" sz="1800" i="1" dirty="0" err="1">
                <a:solidFill>
                  <a:srgbClr val="000000"/>
                </a:solidFill>
                <a:effectLst/>
              </a:rPr>
              <a:t>inputdata</a:t>
            </a:r>
            <a:endParaRPr lang="en-NO" sz="10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NO" sz="100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NO" sz="2000" dirty="0">
                <a:solidFill>
                  <a:schemeClr val="tx1"/>
                </a:solidFill>
              </a:rPr>
              <a:t>Full experiment customization via setting files and command line options (allows better git-version control because scripts remain more “static”)</a:t>
            </a:r>
          </a:p>
          <a:p>
            <a:pPr>
              <a:buFont typeface="Wingdings" pitchFamily="2" charset="2"/>
              <a:buChar char="Ø"/>
            </a:pPr>
            <a:endParaRPr lang="en-NO" sz="100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NO" sz="2000" dirty="0">
                <a:solidFill>
                  <a:schemeClr val="tx1"/>
                </a:solidFill>
              </a:rPr>
              <a:t>Code compilation for each experiment (ensures consistency, traceability, portability) </a:t>
            </a:r>
          </a:p>
          <a:p>
            <a:pPr marL="0" indent="0">
              <a:buNone/>
            </a:pPr>
            <a:r>
              <a:rPr lang="en-NO" sz="1000" dirty="0">
                <a:solidFill>
                  <a:schemeClr val="tx1"/>
                </a:solidFill>
              </a:rPr>
              <a:t> </a:t>
            </a:r>
            <a:endParaRPr lang="en-NO" sz="50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NO" sz="2000" dirty="0">
                <a:solidFill>
                  <a:schemeClr val="tx1"/>
                </a:solidFill>
              </a:rPr>
              <a:t>Flexibility to add mulitple models and assimilation schemes in a structured and organized manner </a:t>
            </a:r>
          </a:p>
          <a:p>
            <a:pPr marL="0" indent="0">
              <a:buNone/>
            </a:pPr>
            <a:endParaRPr lang="en-NO" sz="100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NO" sz="2000" dirty="0">
                <a:solidFill>
                  <a:schemeClr val="tx1"/>
                </a:solidFill>
              </a:rPr>
              <a:t>Rigerous logging of building and running the system (traceability, reproducability)</a:t>
            </a:r>
          </a:p>
          <a:p>
            <a:pPr>
              <a:buFont typeface="Wingdings" pitchFamily="2" charset="2"/>
              <a:buChar char="Ø"/>
            </a:pPr>
            <a:endParaRPr lang="en-NO" sz="100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NO" sz="2000" dirty="0">
                <a:solidFill>
                  <a:schemeClr val="tx1"/>
                </a:solidFill>
              </a:rPr>
              <a:t>Documentation: user-guide with examples for running NorCPM</a:t>
            </a:r>
          </a:p>
          <a:p>
            <a:pPr marL="0" indent="0">
              <a:buNone/>
            </a:pPr>
            <a:r>
              <a:rPr lang="en-NO" sz="2000" i="1" dirty="0">
                <a:solidFill>
                  <a:schemeClr val="tx1"/>
                </a:solidFill>
                <a:effectLst/>
              </a:rPr>
              <a:t> </a:t>
            </a:r>
            <a:r>
              <a:rPr lang="en-GB" sz="1800" i="1" dirty="0">
                <a:solidFill>
                  <a:srgbClr val="000000"/>
                </a:solidFill>
                <a:effectLst/>
              </a:rPr>
              <a:t>https://</a:t>
            </a:r>
            <a:r>
              <a:rPr lang="en-GB" sz="1800" i="1" dirty="0" err="1">
                <a:solidFill>
                  <a:srgbClr val="000000"/>
                </a:solidFill>
                <a:effectLst/>
              </a:rPr>
              <a:t>github.com</a:t>
            </a:r>
            <a:r>
              <a:rPr lang="en-GB" sz="1800" i="1" dirty="0">
                <a:solidFill>
                  <a:srgbClr val="000000"/>
                </a:solidFill>
                <a:effectLst/>
              </a:rPr>
              <a:t>/</a:t>
            </a:r>
            <a:r>
              <a:rPr lang="en-GB" sz="1800" i="1" dirty="0" err="1">
                <a:solidFill>
                  <a:srgbClr val="000000"/>
                </a:solidFill>
                <a:effectLst/>
              </a:rPr>
              <a:t>BjerknesCPU</a:t>
            </a:r>
            <a:r>
              <a:rPr lang="en-GB" sz="1800" i="1" dirty="0">
                <a:solidFill>
                  <a:srgbClr val="000000"/>
                </a:solidFill>
                <a:effectLst/>
              </a:rPr>
              <a:t>/</a:t>
            </a:r>
            <a:r>
              <a:rPr lang="en-GB" sz="1800" i="1" dirty="0" err="1">
                <a:solidFill>
                  <a:srgbClr val="000000"/>
                </a:solidFill>
                <a:effectLst/>
              </a:rPr>
              <a:t>NorCPM</a:t>
            </a:r>
            <a:r>
              <a:rPr lang="en-GB" sz="1800" i="1" dirty="0">
                <a:solidFill>
                  <a:srgbClr val="000000"/>
                </a:solidFill>
                <a:effectLst/>
              </a:rPr>
              <a:t>-CF</a:t>
            </a:r>
            <a:endParaRPr lang="en-GB" sz="1800" i="1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endParaRPr lang="en-GB" sz="1800" dirty="0">
              <a:solidFill>
                <a:srgbClr val="000000"/>
              </a:solidFill>
              <a:effectLst/>
            </a:endParaRPr>
          </a:p>
          <a:p>
            <a:pPr marL="174625" lvl="1" indent="0">
              <a:buNone/>
            </a:pPr>
            <a:endParaRPr lang="en-GB" sz="1800" dirty="0">
              <a:solidFill>
                <a:srgbClr val="000000"/>
              </a:solidFill>
              <a:effectLst/>
            </a:endParaRPr>
          </a:p>
          <a:p>
            <a:pPr>
              <a:buFont typeface="Wingdings" pitchFamily="2" charset="2"/>
              <a:buChar char="Ø"/>
            </a:pPr>
            <a:endParaRPr lang="en-GB" sz="5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NO" sz="1000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781312" cy="338554"/>
          </a:xfrm>
        </p:spPr>
        <p:txBody>
          <a:bodyPr/>
          <a:lstStyle/>
          <a:p>
            <a:r>
              <a:rPr lang="en-NO" sz="2200" dirty="0"/>
              <a:t>NorCPM-CF  </a:t>
            </a:r>
            <a:r>
              <a:rPr lang="en-US" sz="2200" dirty="0"/>
              <a:t> </a:t>
            </a:r>
            <a:endParaRPr lang="en-NO" sz="2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662221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66F0120C-0E93-B030-765F-CD70CFE7781B}"/>
              </a:ext>
            </a:extLst>
          </p:cNvPr>
          <p:cNvSpPr txBox="1"/>
          <p:nvPr/>
        </p:nvSpPr>
        <p:spPr>
          <a:xfrm>
            <a:off x="7241463" y="4886766"/>
            <a:ext cx="5019323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1-1_historical_18500101_start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1-1_piControl_18500101_start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1_piControl_19500101_start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-cf-system1_assim_19811115_start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-cf-system1_assim_19811115_continue20220915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-cf-system1_assimtest_19811115_start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-cf-system1_hindcast1_20230115_start.sh</a:t>
            </a:r>
          </a:p>
          <a:p>
            <a:r>
              <a:rPr lang="en-GB" sz="1200" dirty="0" err="1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setmach.sh</a:t>
            </a:r>
            <a:endParaRPr lang="en-GB" sz="1200" dirty="0">
              <a:solidFill>
                <a:srgbClr val="2FBD1D"/>
              </a:solidFill>
              <a:effectLst/>
              <a:latin typeface="Menlo" panose="020B0609030804020204" pitchFamily="49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7103F84-D778-4555-0B08-CBD4FFE9DBEF}"/>
              </a:ext>
            </a:extLst>
          </p:cNvPr>
          <p:cNvSpPr txBox="1"/>
          <p:nvPr/>
        </p:nvSpPr>
        <p:spPr>
          <a:xfrm>
            <a:off x="399010" y="1075823"/>
            <a:ext cx="991422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allows </a:t>
            </a:r>
            <a:r>
              <a:rPr lang="en-NO" b="1" dirty="0"/>
              <a:t>multiple </a:t>
            </a:r>
            <a:r>
              <a:rPr lang="en-NO" b="1" i="1" dirty="0"/>
              <a:t>assimilation schemes</a:t>
            </a:r>
            <a:r>
              <a:rPr lang="en-NO" b="1" dirty="0"/>
              <a:t> and </a:t>
            </a:r>
            <a:r>
              <a:rPr lang="en-NO" b="1" i="1" dirty="0"/>
              <a:t>experiment setup environments</a:t>
            </a:r>
            <a:r>
              <a:rPr lang="en-NO" i="1" dirty="0"/>
              <a:t> – </a:t>
            </a:r>
            <a:r>
              <a:rPr lang="en-GB" dirty="0"/>
              <a:t>multiple users can contribute to the same repository without interfering with each other's 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flexible; structured and organized; fully version controlled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full integration with </a:t>
            </a:r>
            <a:r>
              <a:rPr lang="en-GB" dirty="0" err="1"/>
              <a:t>NorESM</a:t>
            </a:r>
            <a:r>
              <a:rPr lang="en-GB" dirty="0"/>
              <a:t>; structure suitable for use with NorESM2 and later versions   </a:t>
            </a:r>
            <a:r>
              <a:rPr lang="en-NO" dirty="0"/>
              <a:t>    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7C514B9-A85F-2C23-DCCA-CF6828A410A5}"/>
              </a:ext>
            </a:extLst>
          </p:cNvPr>
          <p:cNvSpPr/>
          <p:nvPr/>
        </p:nvSpPr>
        <p:spPr>
          <a:xfrm>
            <a:off x="3418726" y="2224738"/>
            <a:ext cx="1072900" cy="4435246"/>
          </a:xfrm>
          <a:prstGeom prst="rect">
            <a:avLst/>
          </a:prstGeom>
          <a:solidFill>
            <a:srgbClr val="FFFF00">
              <a:alpha val="9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2CC0DEC-4A1C-BAB0-C9EF-3F1AC081F224}"/>
              </a:ext>
            </a:extLst>
          </p:cNvPr>
          <p:cNvSpPr txBox="1"/>
          <p:nvPr/>
        </p:nvSpPr>
        <p:spPr>
          <a:xfrm>
            <a:off x="49518" y="2276349"/>
            <a:ext cx="12087063" cy="4383634"/>
          </a:xfrm>
          <a:prstGeom prst="rect">
            <a:avLst/>
          </a:prstGeom>
          <a:noFill/>
          <a:ln>
            <a:solidFill>
              <a:schemeClr val="tx1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2087063"/>
                      <a:gd name="connsiteY0" fmla="*/ 0 h 4383634"/>
                      <a:gd name="connsiteX1" fmla="*/ 454704 w 12087063"/>
                      <a:gd name="connsiteY1" fmla="*/ 0 h 4383634"/>
                      <a:gd name="connsiteX2" fmla="*/ 667666 w 12087063"/>
                      <a:gd name="connsiteY2" fmla="*/ 0 h 4383634"/>
                      <a:gd name="connsiteX3" fmla="*/ 1484982 w 12087063"/>
                      <a:gd name="connsiteY3" fmla="*/ 0 h 4383634"/>
                      <a:gd name="connsiteX4" fmla="*/ 1939686 w 12087063"/>
                      <a:gd name="connsiteY4" fmla="*/ 0 h 4383634"/>
                      <a:gd name="connsiteX5" fmla="*/ 2394390 w 12087063"/>
                      <a:gd name="connsiteY5" fmla="*/ 0 h 4383634"/>
                      <a:gd name="connsiteX6" fmla="*/ 3211705 w 12087063"/>
                      <a:gd name="connsiteY6" fmla="*/ 0 h 4383634"/>
                      <a:gd name="connsiteX7" fmla="*/ 3545538 w 12087063"/>
                      <a:gd name="connsiteY7" fmla="*/ 0 h 4383634"/>
                      <a:gd name="connsiteX8" fmla="*/ 4362854 w 12087063"/>
                      <a:gd name="connsiteY8" fmla="*/ 0 h 4383634"/>
                      <a:gd name="connsiteX9" fmla="*/ 5180170 w 12087063"/>
                      <a:gd name="connsiteY9" fmla="*/ 0 h 4383634"/>
                      <a:gd name="connsiteX10" fmla="*/ 5755744 w 12087063"/>
                      <a:gd name="connsiteY10" fmla="*/ 0 h 4383634"/>
                      <a:gd name="connsiteX11" fmla="*/ 6573060 w 12087063"/>
                      <a:gd name="connsiteY11" fmla="*/ 0 h 4383634"/>
                      <a:gd name="connsiteX12" fmla="*/ 7027764 w 12087063"/>
                      <a:gd name="connsiteY12" fmla="*/ 0 h 4383634"/>
                      <a:gd name="connsiteX13" fmla="*/ 7482468 w 12087063"/>
                      <a:gd name="connsiteY13" fmla="*/ 0 h 4383634"/>
                      <a:gd name="connsiteX14" fmla="*/ 8178913 w 12087063"/>
                      <a:gd name="connsiteY14" fmla="*/ 0 h 4383634"/>
                      <a:gd name="connsiteX15" fmla="*/ 8633616 w 12087063"/>
                      <a:gd name="connsiteY15" fmla="*/ 0 h 4383634"/>
                      <a:gd name="connsiteX16" fmla="*/ 9450932 w 12087063"/>
                      <a:gd name="connsiteY16" fmla="*/ 0 h 4383634"/>
                      <a:gd name="connsiteX17" fmla="*/ 10268248 w 12087063"/>
                      <a:gd name="connsiteY17" fmla="*/ 0 h 4383634"/>
                      <a:gd name="connsiteX18" fmla="*/ 10843822 w 12087063"/>
                      <a:gd name="connsiteY18" fmla="*/ 0 h 4383634"/>
                      <a:gd name="connsiteX19" fmla="*/ 11298526 w 12087063"/>
                      <a:gd name="connsiteY19" fmla="*/ 0 h 4383634"/>
                      <a:gd name="connsiteX20" fmla="*/ 11511489 w 12087063"/>
                      <a:gd name="connsiteY20" fmla="*/ 0 h 4383634"/>
                      <a:gd name="connsiteX21" fmla="*/ 12087063 w 12087063"/>
                      <a:gd name="connsiteY21" fmla="*/ 0 h 4383634"/>
                      <a:gd name="connsiteX22" fmla="*/ 12087063 w 12087063"/>
                      <a:gd name="connsiteY22" fmla="*/ 460282 h 4383634"/>
                      <a:gd name="connsiteX23" fmla="*/ 12087063 w 12087063"/>
                      <a:gd name="connsiteY23" fmla="*/ 964399 h 4383634"/>
                      <a:gd name="connsiteX24" fmla="*/ 12087063 w 12087063"/>
                      <a:gd name="connsiteY24" fmla="*/ 1424681 h 4383634"/>
                      <a:gd name="connsiteX25" fmla="*/ 12087063 w 12087063"/>
                      <a:gd name="connsiteY25" fmla="*/ 2016472 h 4383634"/>
                      <a:gd name="connsiteX26" fmla="*/ 12087063 w 12087063"/>
                      <a:gd name="connsiteY26" fmla="*/ 2564426 h 4383634"/>
                      <a:gd name="connsiteX27" fmla="*/ 12087063 w 12087063"/>
                      <a:gd name="connsiteY27" fmla="*/ 3112380 h 4383634"/>
                      <a:gd name="connsiteX28" fmla="*/ 12087063 w 12087063"/>
                      <a:gd name="connsiteY28" fmla="*/ 3748007 h 4383634"/>
                      <a:gd name="connsiteX29" fmla="*/ 12087063 w 12087063"/>
                      <a:gd name="connsiteY29" fmla="*/ 4383634 h 4383634"/>
                      <a:gd name="connsiteX30" fmla="*/ 11874100 w 12087063"/>
                      <a:gd name="connsiteY30" fmla="*/ 4383634 h 4383634"/>
                      <a:gd name="connsiteX31" fmla="*/ 11177655 w 12087063"/>
                      <a:gd name="connsiteY31" fmla="*/ 4383634 h 4383634"/>
                      <a:gd name="connsiteX32" fmla="*/ 10964693 w 12087063"/>
                      <a:gd name="connsiteY32" fmla="*/ 4383634 h 4383634"/>
                      <a:gd name="connsiteX33" fmla="*/ 10268248 w 12087063"/>
                      <a:gd name="connsiteY33" fmla="*/ 4383634 h 4383634"/>
                      <a:gd name="connsiteX34" fmla="*/ 9934415 w 12087063"/>
                      <a:gd name="connsiteY34" fmla="*/ 4383634 h 4383634"/>
                      <a:gd name="connsiteX35" fmla="*/ 9721452 w 12087063"/>
                      <a:gd name="connsiteY35" fmla="*/ 4383634 h 4383634"/>
                      <a:gd name="connsiteX36" fmla="*/ 9387619 w 12087063"/>
                      <a:gd name="connsiteY36" fmla="*/ 4383634 h 4383634"/>
                      <a:gd name="connsiteX37" fmla="*/ 8691174 w 12087063"/>
                      <a:gd name="connsiteY37" fmla="*/ 4383634 h 4383634"/>
                      <a:gd name="connsiteX38" fmla="*/ 8357341 w 12087063"/>
                      <a:gd name="connsiteY38" fmla="*/ 4383634 h 4383634"/>
                      <a:gd name="connsiteX39" fmla="*/ 8144378 w 12087063"/>
                      <a:gd name="connsiteY39" fmla="*/ 4383634 h 4383634"/>
                      <a:gd name="connsiteX40" fmla="*/ 7810545 w 12087063"/>
                      <a:gd name="connsiteY40" fmla="*/ 4383634 h 4383634"/>
                      <a:gd name="connsiteX41" fmla="*/ 7355841 w 12087063"/>
                      <a:gd name="connsiteY41" fmla="*/ 4383634 h 4383634"/>
                      <a:gd name="connsiteX42" fmla="*/ 6780267 w 12087063"/>
                      <a:gd name="connsiteY42" fmla="*/ 4383634 h 4383634"/>
                      <a:gd name="connsiteX43" fmla="*/ 6446434 w 12087063"/>
                      <a:gd name="connsiteY43" fmla="*/ 4383634 h 4383634"/>
                      <a:gd name="connsiteX44" fmla="*/ 5629118 w 12087063"/>
                      <a:gd name="connsiteY44" fmla="*/ 4383634 h 4383634"/>
                      <a:gd name="connsiteX45" fmla="*/ 5053543 w 12087063"/>
                      <a:gd name="connsiteY45" fmla="*/ 4383634 h 4383634"/>
                      <a:gd name="connsiteX46" fmla="*/ 4236228 w 12087063"/>
                      <a:gd name="connsiteY46" fmla="*/ 4383634 h 4383634"/>
                      <a:gd name="connsiteX47" fmla="*/ 3539783 w 12087063"/>
                      <a:gd name="connsiteY47" fmla="*/ 4383634 h 4383634"/>
                      <a:gd name="connsiteX48" fmla="*/ 3085079 w 12087063"/>
                      <a:gd name="connsiteY48" fmla="*/ 4383634 h 4383634"/>
                      <a:gd name="connsiteX49" fmla="*/ 2388634 w 12087063"/>
                      <a:gd name="connsiteY49" fmla="*/ 4383634 h 4383634"/>
                      <a:gd name="connsiteX50" fmla="*/ 2054801 w 12087063"/>
                      <a:gd name="connsiteY50" fmla="*/ 4383634 h 4383634"/>
                      <a:gd name="connsiteX51" fmla="*/ 1479226 w 12087063"/>
                      <a:gd name="connsiteY51" fmla="*/ 4383634 h 4383634"/>
                      <a:gd name="connsiteX52" fmla="*/ 1266264 w 12087063"/>
                      <a:gd name="connsiteY52" fmla="*/ 4383634 h 4383634"/>
                      <a:gd name="connsiteX53" fmla="*/ 0 w 12087063"/>
                      <a:gd name="connsiteY53" fmla="*/ 4383634 h 4383634"/>
                      <a:gd name="connsiteX54" fmla="*/ 0 w 12087063"/>
                      <a:gd name="connsiteY54" fmla="*/ 3835680 h 4383634"/>
                      <a:gd name="connsiteX55" fmla="*/ 0 w 12087063"/>
                      <a:gd name="connsiteY55" fmla="*/ 3243889 h 4383634"/>
                      <a:gd name="connsiteX56" fmla="*/ 0 w 12087063"/>
                      <a:gd name="connsiteY56" fmla="*/ 2652099 h 4383634"/>
                      <a:gd name="connsiteX57" fmla="*/ 0 w 12087063"/>
                      <a:gd name="connsiteY57" fmla="*/ 2191817 h 4383634"/>
                      <a:gd name="connsiteX58" fmla="*/ 0 w 12087063"/>
                      <a:gd name="connsiteY58" fmla="*/ 1556190 h 4383634"/>
                      <a:gd name="connsiteX59" fmla="*/ 0 w 12087063"/>
                      <a:gd name="connsiteY59" fmla="*/ 1008236 h 4383634"/>
                      <a:gd name="connsiteX60" fmla="*/ 0 w 12087063"/>
                      <a:gd name="connsiteY60" fmla="*/ 591791 h 4383634"/>
                      <a:gd name="connsiteX61" fmla="*/ 0 w 12087063"/>
                      <a:gd name="connsiteY61" fmla="*/ 0 h 43836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</a:cxnLst>
                    <a:rect l="l" t="t" r="r" b="b"/>
                    <a:pathLst>
                      <a:path w="12087063" h="4383634" extrusionOk="0">
                        <a:moveTo>
                          <a:pt x="0" y="0"/>
                        </a:moveTo>
                        <a:cubicBezTo>
                          <a:pt x="213605" y="-46479"/>
                          <a:pt x="315435" y="34547"/>
                          <a:pt x="454704" y="0"/>
                        </a:cubicBezTo>
                        <a:cubicBezTo>
                          <a:pt x="593973" y="-34547"/>
                          <a:pt x="619658" y="2634"/>
                          <a:pt x="667666" y="0"/>
                        </a:cubicBezTo>
                        <a:cubicBezTo>
                          <a:pt x="715674" y="-2634"/>
                          <a:pt x="1279540" y="91298"/>
                          <a:pt x="1484982" y="0"/>
                        </a:cubicBezTo>
                        <a:cubicBezTo>
                          <a:pt x="1690424" y="-91298"/>
                          <a:pt x="1793342" y="49739"/>
                          <a:pt x="1939686" y="0"/>
                        </a:cubicBezTo>
                        <a:cubicBezTo>
                          <a:pt x="2086030" y="-49739"/>
                          <a:pt x="2226417" y="20199"/>
                          <a:pt x="2394390" y="0"/>
                        </a:cubicBezTo>
                        <a:cubicBezTo>
                          <a:pt x="2562363" y="-20199"/>
                          <a:pt x="3013495" y="30939"/>
                          <a:pt x="3211705" y="0"/>
                        </a:cubicBezTo>
                        <a:cubicBezTo>
                          <a:pt x="3409916" y="-30939"/>
                          <a:pt x="3426501" y="22435"/>
                          <a:pt x="3545538" y="0"/>
                        </a:cubicBezTo>
                        <a:cubicBezTo>
                          <a:pt x="3664575" y="-22435"/>
                          <a:pt x="4111513" y="8621"/>
                          <a:pt x="4362854" y="0"/>
                        </a:cubicBezTo>
                        <a:cubicBezTo>
                          <a:pt x="4614195" y="-8621"/>
                          <a:pt x="4841590" y="52153"/>
                          <a:pt x="5180170" y="0"/>
                        </a:cubicBezTo>
                        <a:cubicBezTo>
                          <a:pt x="5518750" y="-52153"/>
                          <a:pt x="5612086" y="41856"/>
                          <a:pt x="5755744" y="0"/>
                        </a:cubicBezTo>
                        <a:cubicBezTo>
                          <a:pt x="5899402" y="-41856"/>
                          <a:pt x="6351396" y="25466"/>
                          <a:pt x="6573060" y="0"/>
                        </a:cubicBezTo>
                        <a:cubicBezTo>
                          <a:pt x="6794724" y="-25466"/>
                          <a:pt x="6875143" y="29876"/>
                          <a:pt x="7027764" y="0"/>
                        </a:cubicBezTo>
                        <a:cubicBezTo>
                          <a:pt x="7180385" y="-29876"/>
                          <a:pt x="7275197" y="20112"/>
                          <a:pt x="7482468" y="0"/>
                        </a:cubicBezTo>
                        <a:cubicBezTo>
                          <a:pt x="7689739" y="-20112"/>
                          <a:pt x="7860349" y="76967"/>
                          <a:pt x="8178913" y="0"/>
                        </a:cubicBezTo>
                        <a:cubicBezTo>
                          <a:pt x="8497477" y="-76967"/>
                          <a:pt x="8506535" y="17072"/>
                          <a:pt x="8633616" y="0"/>
                        </a:cubicBezTo>
                        <a:cubicBezTo>
                          <a:pt x="8760697" y="-17072"/>
                          <a:pt x="9112787" y="34937"/>
                          <a:pt x="9450932" y="0"/>
                        </a:cubicBezTo>
                        <a:cubicBezTo>
                          <a:pt x="9789077" y="-34937"/>
                          <a:pt x="9981154" y="8654"/>
                          <a:pt x="10268248" y="0"/>
                        </a:cubicBezTo>
                        <a:cubicBezTo>
                          <a:pt x="10555342" y="-8654"/>
                          <a:pt x="10640365" y="4438"/>
                          <a:pt x="10843822" y="0"/>
                        </a:cubicBezTo>
                        <a:cubicBezTo>
                          <a:pt x="11047279" y="-4438"/>
                          <a:pt x="11146171" y="5765"/>
                          <a:pt x="11298526" y="0"/>
                        </a:cubicBezTo>
                        <a:cubicBezTo>
                          <a:pt x="11450881" y="-5765"/>
                          <a:pt x="11422041" y="2235"/>
                          <a:pt x="11511489" y="0"/>
                        </a:cubicBezTo>
                        <a:cubicBezTo>
                          <a:pt x="11600937" y="-2235"/>
                          <a:pt x="11863447" y="61228"/>
                          <a:pt x="12087063" y="0"/>
                        </a:cubicBezTo>
                        <a:cubicBezTo>
                          <a:pt x="12091134" y="130436"/>
                          <a:pt x="12070993" y="329818"/>
                          <a:pt x="12087063" y="460282"/>
                        </a:cubicBezTo>
                        <a:cubicBezTo>
                          <a:pt x="12103133" y="590746"/>
                          <a:pt x="12078471" y="752457"/>
                          <a:pt x="12087063" y="964399"/>
                        </a:cubicBezTo>
                        <a:cubicBezTo>
                          <a:pt x="12095655" y="1176341"/>
                          <a:pt x="12053688" y="1307244"/>
                          <a:pt x="12087063" y="1424681"/>
                        </a:cubicBezTo>
                        <a:cubicBezTo>
                          <a:pt x="12120438" y="1542118"/>
                          <a:pt x="12028396" y="1762599"/>
                          <a:pt x="12087063" y="2016472"/>
                        </a:cubicBezTo>
                        <a:cubicBezTo>
                          <a:pt x="12145730" y="2270345"/>
                          <a:pt x="12086110" y="2397708"/>
                          <a:pt x="12087063" y="2564426"/>
                        </a:cubicBezTo>
                        <a:cubicBezTo>
                          <a:pt x="12088016" y="2731144"/>
                          <a:pt x="12028402" y="2853459"/>
                          <a:pt x="12087063" y="3112380"/>
                        </a:cubicBezTo>
                        <a:cubicBezTo>
                          <a:pt x="12145724" y="3371301"/>
                          <a:pt x="12072735" y="3564426"/>
                          <a:pt x="12087063" y="3748007"/>
                        </a:cubicBezTo>
                        <a:cubicBezTo>
                          <a:pt x="12101391" y="3931588"/>
                          <a:pt x="12012035" y="4163429"/>
                          <a:pt x="12087063" y="4383634"/>
                        </a:cubicBezTo>
                        <a:cubicBezTo>
                          <a:pt x="11984718" y="4389576"/>
                          <a:pt x="11919515" y="4363620"/>
                          <a:pt x="11874100" y="4383634"/>
                        </a:cubicBezTo>
                        <a:cubicBezTo>
                          <a:pt x="11828685" y="4403648"/>
                          <a:pt x="11323291" y="4372871"/>
                          <a:pt x="11177655" y="4383634"/>
                        </a:cubicBezTo>
                        <a:cubicBezTo>
                          <a:pt x="11032019" y="4394397"/>
                          <a:pt x="11039569" y="4372505"/>
                          <a:pt x="10964693" y="4383634"/>
                        </a:cubicBezTo>
                        <a:cubicBezTo>
                          <a:pt x="10889817" y="4394763"/>
                          <a:pt x="10526703" y="4340138"/>
                          <a:pt x="10268248" y="4383634"/>
                        </a:cubicBezTo>
                        <a:cubicBezTo>
                          <a:pt x="10009793" y="4427130"/>
                          <a:pt x="10086522" y="4355034"/>
                          <a:pt x="9934415" y="4383634"/>
                        </a:cubicBezTo>
                        <a:cubicBezTo>
                          <a:pt x="9782308" y="4412234"/>
                          <a:pt x="9827883" y="4377219"/>
                          <a:pt x="9721452" y="4383634"/>
                        </a:cubicBezTo>
                        <a:cubicBezTo>
                          <a:pt x="9615021" y="4390049"/>
                          <a:pt x="9490708" y="4368182"/>
                          <a:pt x="9387619" y="4383634"/>
                        </a:cubicBezTo>
                        <a:cubicBezTo>
                          <a:pt x="9284530" y="4399086"/>
                          <a:pt x="9010311" y="4362615"/>
                          <a:pt x="8691174" y="4383634"/>
                        </a:cubicBezTo>
                        <a:cubicBezTo>
                          <a:pt x="8372037" y="4404653"/>
                          <a:pt x="8471544" y="4381493"/>
                          <a:pt x="8357341" y="4383634"/>
                        </a:cubicBezTo>
                        <a:cubicBezTo>
                          <a:pt x="8243138" y="4385775"/>
                          <a:pt x="8234451" y="4364495"/>
                          <a:pt x="8144378" y="4383634"/>
                        </a:cubicBezTo>
                        <a:cubicBezTo>
                          <a:pt x="8054305" y="4402773"/>
                          <a:pt x="7957573" y="4369930"/>
                          <a:pt x="7810545" y="4383634"/>
                        </a:cubicBezTo>
                        <a:cubicBezTo>
                          <a:pt x="7663517" y="4397338"/>
                          <a:pt x="7579465" y="4368727"/>
                          <a:pt x="7355841" y="4383634"/>
                        </a:cubicBezTo>
                        <a:cubicBezTo>
                          <a:pt x="7132217" y="4398541"/>
                          <a:pt x="7024513" y="4341201"/>
                          <a:pt x="6780267" y="4383634"/>
                        </a:cubicBezTo>
                        <a:cubicBezTo>
                          <a:pt x="6536021" y="4426067"/>
                          <a:pt x="6519114" y="4361483"/>
                          <a:pt x="6446434" y="4383634"/>
                        </a:cubicBezTo>
                        <a:cubicBezTo>
                          <a:pt x="6373754" y="4405785"/>
                          <a:pt x="5902185" y="4365035"/>
                          <a:pt x="5629118" y="4383634"/>
                        </a:cubicBezTo>
                        <a:cubicBezTo>
                          <a:pt x="5356051" y="4402233"/>
                          <a:pt x="5281558" y="4368226"/>
                          <a:pt x="5053543" y="4383634"/>
                        </a:cubicBezTo>
                        <a:cubicBezTo>
                          <a:pt x="4825529" y="4399042"/>
                          <a:pt x="4497060" y="4345485"/>
                          <a:pt x="4236228" y="4383634"/>
                        </a:cubicBezTo>
                        <a:cubicBezTo>
                          <a:pt x="3975397" y="4421783"/>
                          <a:pt x="3729662" y="4315083"/>
                          <a:pt x="3539783" y="4383634"/>
                        </a:cubicBezTo>
                        <a:cubicBezTo>
                          <a:pt x="3349905" y="4452185"/>
                          <a:pt x="3295517" y="4363604"/>
                          <a:pt x="3085079" y="4383634"/>
                        </a:cubicBezTo>
                        <a:cubicBezTo>
                          <a:pt x="2874641" y="4403664"/>
                          <a:pt x="2610747" y="4351654"/>
                          <a:pt x="2388634" y="4383634"/>
                        </a:cubicBezTo>
                        <a:cubicBezTo>
                          <a:pt x="2166521" y="4415614"/>
                          <a:pt x="2164880" y="4378977"/>
                          <a:pt x="2054801" y="4383634"/>
                        </a:cubicBezTo>
                        <a:cubicBezTo>
                          <a:pt x="1944722" y="4388291"/>
                          <a:pt x="1757394" y="4342480"/>
                          <a:pt x="1479226" y="4383634"/>
                        </a:cubicBezTo>
                        <a:cubicBezTo>
                          <a:pt x="1201058" y="4424788"/>
                          <a:pt x="1365093" y="4360446"/>
                          <a:pt x="1266264" y="4383634"/>
                        </a:cubicBezTo>
                        <a:cubicBezTo>
                          <a:pt x="1167435" y="4406822"/>
                          <a:pt x="566432" y="4359661"/>
                          <a:pt x="0" y="4383634"/>
                        </a:cubicBezTo>
                        <a:cubicBezTo>
                          <a:pt x="-44013" y="4255123"/>
                          <a:pt x="33575" y="3949423"/>
                          <a:pt x="0" y="3835680"/>
                        </a:cubicBezTo>
                        <a:cubicBezTo>
                          <a:pt x="-33575" y="3721937"/>
                          <a:pt x="58092" y="3371155"/>
                          <a:pt x="0" y="3243889"/>
                        </a:cubicBezTo>
                        <a:cubicBezTo>
                          <a:pt x="-58092" y="3116623"/>
                          <a:pt x="35673" y="2840011"/>
                          <a:pt x="0" y="2652099"/>
                        </a:cubicBezTo>
                        <a:cubicBezTo>
                          <a:pt x="-35673" y="2464187"/>
                          <a:pt x="11788" y="2327245"/>
                          <a:pt x="0" y="2191817"/>
                        </a:cubicBezTo>
                        <a:cubicBezTo>
                          <a:pt x="-11788" y="2056389"/>
                          <a:pt x="47526" y="1858290"/>
                          <a:pt x="0" y="1556190"/>
                        </a:cubicBezTo>
                        <a:cubicBezTo>
                          <a:pt x="-47526" y="1254090"/>
                          <a:pt x="22633" y="1121607"/>
                          <a:pt x="0" y="1008236"/>
                        </a:cubicBezTo>
                        <a:cubicBezTo>
                          <a:pt x="-22633" y="894865"/>
                          <a:pt x="31518" y="797496"/>
                          <a:pt x="0" y="591791"/>
                        </a:cubicBezTo>
                        <a:cubicBezTo>
                          <a:pt x="-31518" y="386087"/>
                          <a:pt x="60020" y="250422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txBody>
          <a:bodyPr wrap="square" rtlCol="0">
            <a:spAutoFit/>
          </a:bodyPr>
          <a:lstStyle/>
          <a:p>
            <a:endParaRPr lang="en-NO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603181" cy="338554"/>
          </a:xfrm>
        </p:spPr>
        <p:txBody>
          <a:bodyPr/>
          <a:lstStyle/>
          <a:p>
            <a:r>
              <a:rPr lang="en-NO" sz="2200" dirty="0"/>
              <a:t>NorCPM-CF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BAB605F-30D7-8F11-5CE9-0FA147E897E2}"/>
              </a:ext>
            </a:extLst>
          </p:cNvPr>
          <p:cNvSpPr txBox="1"/>
          <p:nvPr/>
        </p:nvSpPr>
        <p:spPr>
          <a:xfrm>
            <a:off x="2276013" y="3494656"/>
            <a:ext cx="1107996" cy="19851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500" b="1" i="1" dirty="0" err="1">
                <a:solidFill>
                  <a:srgbClr val="00B050"/>
                </a:solidFill>
                <a:latin typeface="Menlo" panose="020B0609030804020204" pitchFamily="49" charset="0"/>
              </a:rPr>
              <a:t>a</a:t>
            </a:r>
            <a:r>
              <a:rPr lang="en-GB" sz="1500" b="1" i="1" dirty="0" err="1">
                <a:solidFill>
                  <a:srgbClr val="00B050"/>
                </a:solidFill>
                <a:effectLst/>
                <a:latin typeface="Menlo" panose="020B0609030804020204" pitchFamily="49" charset="0"/>
              </a:rPr>
              <a:t>ssim</a:t>
            </a:r>
            <a:endParaRPr lang="en-GB" sz="1500" b="1" i="1" dirty="0">
              <a:solidFill>
                <a:srgbClr val="00B050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500" i="1" dirty="0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</a:rPr>
              <a:t>cases</a:t>
            </a:r>
            <a:endParaRPr lang="en-GB" sz="1500" i="1" dirty="0">
              <a:solidFill>
                <a:schemeClr val="bg1">
                  <a:lumMod val="50000"/>
                </a:schemeClr>
              </a:solidFill>
              <a:effectLst/>
              <a:latin typeface="Menlo" panose="020B0609030804020204" pitchFamily="49" charset="0"/>
            </a:endParaRPr>
          </a:p>
          <a:p>
            <a:r>
              <a:rPr lang="en-GB" sz="1500" i="1" dirty="0">
                <a:solidFill>
                  <a:srgbClr val="00B050"/>
                </a:solidFill>
                <a:effectLst/>
                <a:latin typeface="Menlo" panose="020B0609030804020204" pitchFamily="49" charset="0"/>
              </a:rPr>
              <a:t>docs</a:t>
            </a:r>
          </a:p>
          <a:p>
            <a:r>
              <a:rPr lang="en-GB" sz="1500" i="1" dirty="0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</a:rPr>
              <a:t>l</a:t>
            </a:r>
            <a:r>
              <a:rPr lang="en-GB" sz="1500" i="1" dirty="0">
                <a:solidFill>
                  <a:schemeClr val="bg1">
                    <a:lumMod val="50000"/>
                  </a:schemeClr>
                </a:solidFill>
                <a:effectLst/>
                <a:latin typeface="Menlo" panose="020B0609030804020204" pitchFamily="49" charset="0"/>
              </a:rPr>
              <a:t>ogs</a:t>
            </a:r>
          </a:p>
          <a:p>
            <a:r>
              <a:rPr lang="en-GB" sz="1500" b="1" dirty="0">
                <a:solidFill>
                  <a:srgbClr val="00B050"/>
                </a:solidFill>
                <a:latin typeface="Menlo" panose="020B0609030804020204" pitchFamily="49" charset="0"/>
              </a:rPr>
              <a:t>models</a:t>
            </a:r>
            <a:endParaRPr lang="en-GB" sz="1500" b="1" dirty="0">
              <a:solidFill>
                <a:srgbClr val="00B050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500" b="1" i="1" dirty="0">
                <a:solidFill>
                  <a:srgbClr val="00B050"/>
                </a:solidFill>
                <a:effectLst/>
                <a:latin typeface="Menlo" panose="020B0609030804020204" pitchFamily="49" charset="0"/>
              </a:rPr>
              <a:t>ensemble</a:t>
            </a:r>
          </a:p>
          <a:p>
            <a:r>
              <a:rPr lang="en-GB" sz="1500" i="1" dirty="0">
                <a:solidFill>
                  <a:srgbClr val="00B050"/>
                </a:solidFill>
                <a:effectLst/>
                <a:latin typeface="Menlo" panose="020B0609030804020204" pitchFamily="49" charset="0"/>
              </a:rPr>
              <a:t>tools</a:t>
            </a:r>
          </a:p>
          <a:p>
            <a:endParaRPr lang="en-NO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E0B94E2-EBD0-0AA2-4C1D-239D560937DD}"/>
              </a:ext>
            </a:extLst>
          </p:cNvPr>
          <p:cNvSpPr txBox="1"/>
          <p:nvPr/>
        </p:nvSpPr>
        <p:spPr>
          <a:xfrm>
            <a:off x="3383610" y="2697634"/>
            <a:ext cx="1107996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500" b="1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</a:t>
            </a:r>
            <a:r>
              <a:rPr lang="en-NO" sz="1500" b="1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heme1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</a:t>
            </a:r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heme2</a:t>
            </a:r>
          </a:p>
          <a:p>
            <a:r>
              <a:rPr lang="en-NO" sz="1500" i="1" dirty="0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yscheme</a:t>
            </a:r>
          </a:p>
          <a:p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CED1E24-56B4-26BA-2754-C5BAC7B1F5D9}"/>
              </a:ext>
            </a:extLst>
          </p:cNvPr>
          <p:cNvSpPr txBox="1"/>
          <p:nvPr/>
        </p:nvSpPr>
        <p:spPr>
          <a:xfrm flipH="1">
            <a:off x="4722036" y="2291241"/>
            <a:ext cx="5019322" cy="22006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</a:t>
            </a:r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ode1 (e.g. EnKF)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</a:t>
            </a:r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ode2 (e.g. prep_obs)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</a:t>
            </a:r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ode3 (e.g. micom_init)</a:t>
            </a:r>
          </a:p>
          <a:p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</a:p>
          <a:p>
            <a:r>
              <a:rPr lang="en-GB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</a:t>
            </a:r>
            <a:r>
              <a:rPr lang="en-NO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ttings1.in (e.g. </a:t>
            </a:r>
            <a:r>
              <a:rPr lang="en-GB" sz="1500" dirty="0">
                <a:solidFill>
                  <a:srgbClr val="00B050"/>
                </a:solidFill>
                <a:effectLst/>
                <a:latin typeface="Menlo" panose="020B0609030804020204" pitchFamily="49" charset="0"/>
              </a:rPr>
              <a:t>analysisfields_1.in)</a:t>
            </a:r>
            <a:endParaRPr lang="en-NO" sz="1500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</a:t>
            </a:r>
            <a:r>
              <a:rPr lang="en-NO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ttings2.in (e.g. </a:t>
            </a:r>
            <a:r>
              <a:rPr lang="en-GB" sz="1500" dirty="0">
                <a:solidFill>
                  <a:srgbClr val="00B050"/>
                </a:solidFill>
                <a:effectLst/>
                <a:latin typeface="Menlo" panose="020B0609030804020204" pitchFamily="49" charset="0"/>
              </a:rPr>
              <a:t>enkf.prm_1)</a:t>
            </a:r>
            <a:endParaRPr lang="en-NO" sz="1500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NO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</a:p>
          <a:p>
            <a:r>
              <a:rPr lang="en-GB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</a:t>
            </a:r>
            <a:r>
              <a:rPr lang="en-NO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sim_build.sh</a:t>
            </a:r>
          </a:p>
          <a:p>
            <a:r>
              <a:rPr lang="en-GB" sz="1500" dirty="0" err="1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ssim_step.sh</a:t>
            </a:r>
            <a:endParaRPr lang="en-NO" sz="1500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F4E7E33-969D-4A05-7230-70767CC8EFE1}"/>
              </a:ext>
            </a:extLst>
          </p:cNvPr>
          <p:cNvSpPr txBox="1"/>
          <p:nvPr/>
        </p:nvSpPr>
        <p:spPr>
          <a:xfrm>
            <a:off x="3383610" y="5434231"/>
            <a:ext cx="992579" cy="1246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500" b="1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1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2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3</a:t>
            </a:r>
          </a:p>
          <a:p>
            <a:r>
              <a:rPr lang="en-GB" sz="1500" i="1" dirty="0" err="1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ysetup</a:t>
            </a:r>
            <a:endParaRPr lang="en-GB" sz="1500" i="1" dirty="0">
              <a:solidFill>
                <a:schemeClr val="bg1">
                  <a:lumMod val="50000"/>
                </a:schemeClr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  <a:endParaRPr lang="en-NO" sz="1500" i="1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13B9ED5-A80A-F2AE-26EA-A3F8E52D0643}"/>
              </a:ext>
            </a:extLst>
          </p:cNvPr>
          <p:cNvSpPr txBox="1"/>
          <p:nvPr/>
        </p:nvSpPr>
        <p:spPr>
          <a:xfrm>
            <a:off x="4722039" y="5420836"/>
            <a:ext cx="327660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00" b="1" i="1" dirty="0">
                <a:solidFill>
                  <a:srgbClr val="2FBD1D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ettings</a:t>
            </a:r>
            <a:endParaRPr lang="en-GB" sz="1500" b="1" i="1" dirty="0">
              <a:solidFill>
                <a:srgbClr val="2FBD1D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dirty="0" err="1">
                <a:solidFill>
                  <a:srgbClr val="2FBD1D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reate_ensemble.sh</a:t>
            </a:r>
            <a:endParaRPr lang="en-GB" sz="1500" dirty="0">
              <a:solidFill>
                <a:srgbClr val="2FBD1D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dirty="0" err="1">
                <a:solidFill>
                  <a:srgbClr val="2FBD1D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ubmit_</a:t>
            </a:r>
            <a:r>
              <a:rPr lang="en-GB" sz="1500" dirty="0" err="1">
                <a:solidFill>
                  <a:srgbClr val="2FBD1D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nsemble</a:t>
            </a:r>
            <a:r>
              <a:rPr lang="en-GB" sz="1500" dirty="0" err="1">
                <a:solidFill>
                  <a:srgbClr val="2FBD1D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sh</a:t>
            </a:r>
            <a:endParaRPr lang="en-GB" sz="1500" dirty="0">
              <a:solidFill>
                <a:srgbClr val="2FBD1D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dirty="0">
                <a:solidFill>
                  <a:srgbClr val="2FBD1D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83685D1-2B89-2E09-18F1-F9197830DB98}"/>
              </a:ext>
            </a:extLst>
          </p:cNvPr>
          <p:cNvSpPr txBox="1"/>
          <p:nvPr/>
        </p:nvSpPr>
        <p:spPr>
          <a:xfrm>
            <a:off x="559481" y="4231750"/>
            <a:ext cx="1223412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indent="0">
              <a:buNone/>
            </a:pPr>
            <a:r>
              <a:rPr lang="en-GB" sz="1500" b="1" i="1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</a:t>
            </a:r>
            <a:r>
              <a:rPr lang="en-GB" sz="1500" b="1" i="1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-CF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D6E2F610-D5CD-0150-EE39-D19B17D21A8D}"/>
              </a:ext>
            </a:extLst>
          </p:cNvPr>
          <p:cNvCxnSpPr>
            <a:cxnSpLocks/>
          </p:cNvCxnSpPr>
          <p:nvPr/>
        </p:nvCxnSpPr>
        <p:spPr>
          <a:xfrm flipV="1">
            <a:off x="1809600" y="4393332"/>
            <a:ext cx="423844" cy="1"/>
          </a:xfrm>
          <a:prstGeom prst="straightConnector1">
            <a:avLst/>
          </a:prstGeom>
          <a:ln>
            <a:headEnd type="none" w="sm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00DA06C7-0BD0-E78B-30D2-F02A3107E528}"/>
              </a:ext>
            </a:extLst>
          </p:cNvPr>
          <p:cNvCxnSpPr>
            <a:cxnSpLocks/>
          </p:cNvCxnSpPr>
          <p:nvPr/>
        </p:nvCxnSpPr>
        <p:spPr>
          <a:xfrm flipV="1">
            <a:off x="2998816" y="3053473"/>
            <a:ext cx="316011" cy="526469"/>
          </a:xfrm>
          <a:prstGeom prst="straightConnector1">
            <a:avLst/>
          </a:prstGeom>
          <a:ln>
            <a:headEnd type="none" w="sm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4E1EF149-7094-FDD2-7259-BF454E4422AD}"/>
              </a:ext>
            </a:extLst>
          </p:cNvPr>
          <p:cNvCxnSpPr>
            <a:cxnSpLocks/>
          </p:cNvCxnSpPr>
          <p:nvPr/>
        </p:nvCxnSpPr>
        <p:spPr>
          <a:xfrm>
            <a:off x="3200400" y="4992130"/>
            <a:ext cx="132065" cy="666043"/>
          </a:xfrm>
          <a:prstGeom prst="straightConnector1">
            <a:avLst/>
          </a:prstGeom>
          <a:ln cap="sq">
            <a:headEnd type="none" w="sm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09DE571A-91FE-F460-16FF-01A70E79071D}"/>
              </a:ext>
            </a:extLst>
          </p:cNvPr>
          <p:cNvCxnSpPr>
            <a:cxnSpLocks/>
          </p:cNvCxnSpPr>
          <p:nvPr/>
        </p:nvCxnSpPr>
        <p:spPr>
          <a:xfrm>
            <a:off x="4472265" y="3057745"/>
            <a:ext cx="253321" cy="0"/>
          </a:xfrm>
          <a:prstGeom prst="straightConnector1">
            <a:avLst/>
          </a:prstGeom>
          <a:ln>
            <a:headEnd type="none" w="sm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D8D55E2F-1A72-1855-7E9C-AE310E27BB02}"/>
              </a:ext>
            </a:extLst>
          </p:cNvPr>
          <p:cNvCxnSpPr>
            <a:cxnSpLocks/>
          </p:cNvCxnSpPr>
          <p:nvPr/>
        </p:nvCxnSpPr>
        <p:spPr>
          <a:xfrm>
            <a:off x="4501892" y="5583706"/>
            <a:ext cx="220144" cy="0"/>
          </a:xfrm>
          <a:prstGeom prst="straightConnector1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171571FA-7CF9-92EF-73DD-8EE30916C04A}"/>
              </a:ext>
            </a:extLst>
          </p:cNvPr>
          <p:cNvCxnSpPr>
            <a:cxnSpLocks/>
          </p:cNvCxnSpPr>
          <p:nvPr/>
        </p:nvCxnSpPr>
        <p:spPr>
          <a:xfrm>
            <a:off x="5785654" y="5569505"/>
            <a:ext cx="1429793" cy="0"/>
          </a:xfrm>
          <a:prstGeom prst="straightConnector1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91DB77E7-79D5-0778-72B5-26EB07D98552}"/>
              </a:ext>
            </a:extLst>
          </p:cNvPr>
          <p:cNvSpPr txBox="1"/>
          <p:nvPr/>
        </p:nvSpPr>
        <p:spPr>
          <a:xfrm>
            <a:off x="9971768" y="2314324"/>
            <a:ext cx="2164813" cy="7848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-controlled</a:t>
            </a:r>
          </a:p>
          <a:p>
            <a:r>
              <a:rPr lang="en-GB" sz="1500" dirty="0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-controlled?</a:t>
            </a:r>
          </a:p>
          <a:p>
            <a:pPr algn="r"/>
            <a:endParaRPr lang="en-NO" sz="1500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D2A907B0-15AB-6807-6D2E-49C7F0F344DD}"/>
              </a:ext>
            </a:extLst>
          </p:cNvPr>
          <p:cNvCxnSpPr>
            <a:cxnSpLocks/>
          </p:cNvCxnSpPr>
          <p:nvPr/>
        </p:nvCxnSpPr>
        <p:spPr>
          <a:xfrm>
            <a:off x="3065126" y="4589141"/>
            <a:ext cx="318460" cy="0"/>
          </a:xfrm>
          <a:prstGeom prst="straightConnector1">
            <a:avLst/>
          </a:prstGeom>
          <a:ln>
            <a:headEnd type="none" w="sm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B4EFB7EA-4E09-C7F8-A790-9D06FB8C355C}"/>
              </a:ext>
            </a:extLst>
          </p:cNvPr>
          <p:cNvSpPr txBox="1"/>
          <p:nvPr/>
        </p:nvSpPr>
        <p:spPr>
          <a:xfrm>
            <a:off x="3418726" y="3942802"/>
            <a:ext cx="992579" cy="1246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1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2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3</a:t>
            </a:r>
          </a:p>
          <a:p>
            <a:r>
              <a:rPr lang="en-GB" sz="1500" i="1" dirty="0" err="1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ymodel</a:t>
            </a:r>
            <a:endParaRPr lang="en-GB" sz="1500" i="1" dirty="0">
              <a:solidFill>
                <a:schemeClr val="bg1">
                  <a:lumMod val="50000"/>
                </a:schemeClr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  <a:endParaRPr lang="en-NO" sz="1500" i="1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id="{D310DE19-F63E-EB53-38A1-8B2ED6211E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64796" y="6359378"/>
            <a:ext cx="2807297" cy="123111"/>
          </a:xfrm>
        </p:spPr>
        <p:txBody>
          <a:bodyPr/>
          <a:lstStyle/>
          <a:p>
            <a:fld id="{0AE548F1-6D36-4902-B57A-69A845AA9B7E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087654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401E7156-5D76-D08F-1E7B-C5BE269A4CD4}"/>
              </a:ext>
            </a:extLst>
          </p:cNvPr>
          <p:cNvSpPr txBox="1"/>
          <p:nvPr/>
        </p:nvSpPr>
        <p:spPr>
          <a:xfrm>
            <a:off x="490889" y="1431911"/>
            <a:ext cx="11167711" cy="358059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en-NO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24D2CF-D65B-2043-E142-255DC1C37D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234799"/>
            <a:ext cx="11366500" cy="5623201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GB" sz="1600" b="0" i="0" u="none" strike="noStrike" dirty="0">
              <a:solidFill>
                <a:srgbClr val="1F2328"/>
              </a:solidFill>
              <a:effectLst/>
            </a:endParaRPr>
          </a:p>
          <a:p>
            <a:pPr marL="0" indent="0">
              <a:buNone/>
            </a:pPr>
            <a:r>
              <a:rPr lang="en-GB" sz="1800" b="0" i="0" u="none" strike="noStrike" dirty="0">
                <a:solidFill>
                  <a:srgbClr val="1F2328"/>
                </a:solidFill>
                <a:effectLst/>
              </a:rPr>
              <a:t>Install </a:t>
            </a:r>
            <a:r>
              <a:rPr lang="en-GB" sz="1800" b="0" i="0" u="none" strike="noStrike" dirty="0" err="1">
                <a:solidFill>
                  <a:srgbClr val="1F2328"/>
                </a:solidFill>
                <a:effectLst/>
              </a:rPr>
              <a:t>NorCPM</a:t>
            </a:r>
            <a:r>
              <a:rPr lang="en-GB" sz="1800" b="0" i="0" u="none" strike="noStrike" dirty="0">
                <a:solidFill>
                  <a:srgbClr val="1F2328"/>
                </a:solidFill>
                <a:effectLst/>
              </a:rPr>
              <a:t>-CF in the nn9039k project space 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kdir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-p /cluster/projects/nn9039k/people/$USER </a:t>
            </a: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d /cluster/projects/nn9039k/people/$USER </a:t>
            </a: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 clone ssh:/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@github.com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BjerknesCPU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-CF.git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-CF</a:t>
            </a:r>
          </a:p>
          <a:p>
            <a:pPr marL="174625" lvl="1" indent="0">
              <a:buNone/>
            </a:pPr>
            <a:endParaRPr lang="en-GB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800" dirty="0">
                <a:solidFill>
                  <a:schemeClr val="tx1"/>
                </a:solidFill>
                <a:ea typeface="Menlo" panose="020B0609030804020204" pitchFamily="49" charset="0"/>
                <a:cs typeface="Menlo" panose="020B0609030804020204" pitchFamily="49" charset="0"/>
              </a:rPr>
              <a:t>Set up a NorESM1-ME assimilation test experiment with 4 members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d /cluster/projects/nn9039k/people/$USER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-CF/ensemble/noresm1</a:t>
            </a: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nsemble_experiment.sh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settings/</a:t>
            </a:r>
            <a:r>
              <a:rPr lang="en-GB" sz="1500" dirty="0">
                <a:solidFill>
                  <a:schemeClr val="tx1"/>
                </a:solidFill>
                <a:effectLst/>
                <a:latin typeface="Menlo" panose="020B0609030804020204" pitchFamily="49" charset="0"/>
              </a:rPr>
              <a:t>norcpm-cf-system1_assimtest_19811115.sh</a:t>
            </a:r>
            <a:endParaRPr lang="en-GB" sz="1500" dirty="0">
              <a:solidFill>
                <a:schemeClr val="tx1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endParaRPr lang="en-GB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800" dirty="0">
                <a:solidFill>
                  <a:schemeClr val="tx1"/>
                </a:solidFill>
                <a:ea typeface="Menlo" panose="020B0609030804020204" pitchFamily="49" charset="0"/>
                <a:cs typeface="Menlo" panose="020B0609030804020204" pitchFamily="49" charset="0"/>
              </a:rPr>
              <a:t>Submit experiment 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nsemble_experiment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settings/</a:t>
            </a:r>
            <a:r>
              <a:rPr lang="en-GB" sz="1500" dirty="0">
                <a:solidFill>
                  <a:schemeClr val="tx1"/>
                </a:solidFill>
                <a:effectLst/>
                <a:latin typeface="Menlo" panose="020B0609030804020204" pitchFamily="49" charset="0"/>
              </a:rPr>
              <a:t>norcpm-cf-system1_assimtest_19811115.sh</a:t>
            </a:r>
            <a:endParaRPr lang="en-GB" sz="1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en-GB" sz="14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en-GB" sz="14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479161" cy="338554"/>
          </a:xfrm>
        </p:spPr>
        <p:txBody>
          <a:bodyPr/>
          <a:lstStyle/>
          <a:p>
            <a:r>
              <a:rPr lang="en-NO" sz="2200" dirty="0">
                <a:solidFill>
                  <a:schemeClr val="tx1"/>
                </a:solidFill>
              </a:rPr>
              <a:t>Tutorial for performing an assimilation experiment using NorESM1-ME</a:t>
            </a:r>
            <a:endParaRPr lang="en-NO" sz="2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248531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401E7156-5D76-D08F-1E7B-C5BE269A4CD4}"/>
              </a:ext>
            </a:extLst>
          </p:cNvPr>
          <p:cNvSpPr txBox="1"/>
          <p:nvPr/>
        </p:nvSpPr>
        <p:spPr>
          <a:xfrm>
            <a:off x="490889" y="1431910"/>
            <a:ext cx="11167711" cy="505057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en-NO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24D2CF-D65B-2043-E142-255DC1C37D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234799"/>
            <a:ext cx="11366500" cy="5623201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GB" sz="1600" b="0" i="0" u="none" strike="noStrike" dirty="0">
              <a:solidFill>
                <a:srgbClr val="1F2328"/>
              </a:solidFill>
              <a:effectLst/>
            </a:endParaRPr>
          </a:p>
          <a:p>
            <a:pPr marL="0" indent="0">
              <a:buNone/>
            </a:pPr>
            <a:r>
              <a:rPr lang="en-GB" sz="1800" b="0" i="0" u="none" strike="noStrike" dirty="0">
                <a:solidFill>
                  <a:srgbClr val="1F2328"/>
                </a:solidFill>
                <a:effectLst/>
              </a:rPr>
              <a:t>Install </a:t>
            </a:r>
            <a:r>
              <a:rPr lang="en-GB" sz="1800" b="0" i="0" u="none" strike="noStrike" dirty="0" err="1">
                <a:solidFill>
                  <a:srgbClr val="1F2328"/>
                </a:solidFill>
                <a:effectLst/>
              </a:rPr>
              <a:t>NorCPM</a:t>
            </a:r>
            <a:r>
              <a:rPr lang="en-GB" sz="1800" b="0" i="0" u="none" strike="noStrike" dirty="0">
                <a:solidFill>
                  <a:srgbClr val="1F2328"/>
                </a:solidFill>
                <a:effectLst/>
              </a:rPr>
              <a:t>-CF in the nn9039k project space 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kdir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-p /cluster/projects/nn9039k/people/$USER </a:t>
            </a: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d /cluster/projects/nn9039k/people/$USER </a:t>
            </a: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 clone ssh:/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@github.com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BjerknesCPU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-CF.git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-CF</a:t>
            </a:r>
          </a:p>
          <a:p>
            <a:pPr marL="174625" lvl="1" indent="0">
              <a:buNone/>
            </a:pPr>
            <a:endParaRPr lang="en-GB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800" dirty="0">
                <a:solidFill>
                  <a:schemeClr val="tx1"/>
                </a:solidFill>
                <a:ea typeface="Menlo" panose="020B0609030804020204" pitchFamily="49" charset="0"/>
                <a:cs typeface="Menlo" panose="020B0609030804020204" pitchFamily="49" charset="0"/>
              </a:rPr>
              <a:t>Install NorESM2 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d /cluster/projects/nn9039k/people/$USER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X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ensemble/noresm2</a:t>
            </a: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/install_noresm2.sh</a:t>
            </a:r>
            <a:endParaRPr lang="en-GB" sz="1500" dirty="0">
              <a:solidFill>
                <a:schemeClr val="tx1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en-GB" sz="1800" dirty="0">
              <a:solidFill>
                <a:schemeClr val="tx1"/>
              </a:solidFill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800" dirty="0">
                <a:solidFill>
                  <a:schemeClr val="tx1"/>
                </a:solidFill>
                <a:ea typeface="Menlo" panose="020B0609030804020204" pitchFamily="49" charset="0"/>
                <a:cs typeface="Menlo" panose="020B0609030804020204" pitchFamily="49" charset="0"/>
              </a:rPr>
              <a:t>Set up a NorESM2-LM assimilation test experiment with 10 members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reate_ensemble.sh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settings/</a:t>
            </a:r>
            <a:r>
              <a:rPr lang="en-GB" sz="1500" dirty="0">
                <a:solidFill>
                  <a:schemeClr val="tx1"/>
                </a:solidFill>
                <a:effectLst/>
                <a:latin typeface="Menlo" panose="020B0609030804020204" pitchFamily="49" charset="0"/>
              </a:rPr>
              <a:t>noresm2-lm_odaday_19960101.sh</a:t>
            </a:r>
            <a:endParaRPr lang="en-GB" sz="1500" dirty="0">
              <a:solidFill>
                <a:schemeClr val="tx1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endParaRPr lang="en-GB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800" dirty="0">
                <a:solidFill>
                  <a:schemeClr val="tx1"/>
                </a:solidFill>
                <a:ea typeface="Menlo" panose="020B0609030804020204" pitchFamily="49" charset="0"/>
                <a:cs typeface="Menlo" panose="020B0609030804020204" pitchFamily="49" charset="0"/>
              </a:rPr>
              <a:t>Submit experiment 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ubmit_ensemble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settings/</a:t>
            </a:r>
            <a:r>
              <a:rPr lang="en-GB" sz="1500" dirty="0">
                <a:solidFill>
                  <a:schemeClr val="tx1"/>
                </a:solidFill>
                <a:effectLst/>
                <a:latin typeface="Menlo" panose="020B0609030804020204" pitchFamily="49" charset="0"/>
              </a:rPr>
              <a:t>noresm2-lm_odaday_19960101.sh</a:t>
            </a:r>
            <a:endParaRPr lang="en-GB" sz="1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en-GB" sz="14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en-GB" sz="14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479161" cy="338554"/>
          </a:xfrm>
        </p:spPr>
        <p:txBody>
          <a:bodyPr/>
          <a:lstStyle/>
          <a:p>
            <a:r>
              <a:rPr lang="en-NO" sz="2200" dirty="0">
                <a:solidFill>
                  <a:schemeClr val="tx1"/>
                </a:solidFill>
              </a:rPr>
              <a:t>Tutorial for performing an assimilation experiment using NorESM2-LM</a:t>
            </a:r>
            <a:endParaRPr lang="en-NO" sz="2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72099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Bjerknes Centre">
      <a:dk1>
        <a:sysClr val="windowText" lastClr="000000"/>
      </a:dk1>
      <a:lt1>
        <a:sysClr val="window" lastClr="FFFFFF"/>
      </a:lt1>
      <a:dk2>
        <a:srgbClr val="007194"/>
      </a:dk2>
      <a:lt2>
        <a:srgbClr val="8FC8FC"/>
      </a:lt2>
      <a:accent1>
        <a:srgbClr val="007194"/>
      </a:accent1>
      <a:accent2>
        <a:srgbClr val="8FC8FC"/>
      </a:accent2>
      <a:accent3>
        <a:srgbClr val="30A1A5"/>
      </a:accent3>
      <a:accent4>
        <a:srgbClr val="30302F"/>
      </a:accent4>
      <a:accent5>
        <a:srgbClr val="810048"/>
      </a:accent5>
      <a:accent6>
        <a:srgbClr val="CA0045"/>
      </a:accent6>
      <a:hlink>
        <a:srgbClr val="CA0045"/>
      </a:hlink>
      <a:folHlink>
        <a:srgbClr val="810048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jerknes_PPT_16_9_v2.potx" id="{F5C35AE3-2B2E-4A4D-BD76-002FFE0A1658}" vid="{7E695B57-A21E-4A97-96BC-296B8590F30C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3402</TotalTime>
  <Words>800</Words>
  <Application>Microsoft Macintosh PowerPoint</Application>
  <PresentationFormat>Widescreen</PresentationFormat>
  <Paragraphs>143</Paragraphs>
  <Slides>6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2" baseType="lpstr">
      <vt:lpstr>Arial</vt:lpstr>
      <vt:lpstr>Calibri</vt:lpstr>
      <vt:lpstr>Menlo</vt:lpstr>
      <vt:lpstr>Wingdings</vt:lpstr>
      <vt:lpstr>blank</vt:lpstr>
      <vt:lpstr>think-cell Slide</vt:lpstr>
      <vt:lpstr>NorCPM-CF – Norwegian Climate Prediction Model for Climate Futures</vt:lpstr>
      <vt:lpstr>NorCPM classic</vt:lpstr>
      <vt:lpstr>NorCPM-CF   </vt:lpstr>
      <vt:lpstr>NorCPM-CF </vt:lpstr>
      <vt:lpstr>Tutorial for performing an assimilation experiment using NorESM1-ME</vt:lpstr>
      <vt:lpstr>Tutorial for performing an assimilation experiment using NorESM2-LM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subject/>
  <dc:creator>Ingo Bethke</dc:creator>
  <cp:keywords/>
  <dc:description/>
  <cp:lastModifiedBy>Ingo Bethke</cp:lastModifiedBy>
  <cp:revision>50</cp:revision>
  <dcterms:created xsi:type="dcterms:W3CDTF">2019-06-05T13:39:33Z</dcterms:created>
  <dcterms:modified xsi:type="dcterms:W3CDTF">2024-09-04T11:52:52Z</dcterms:modified>
  <cp:category/>
</cp:coreProperties>
</file>